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1"/>
    <p:sldMasterId id="2147483660" r:id="rId2"/>
  </p:sldMasterIdLst>
  <p:notesMasterIdLst>
    <p:notesMasterId r:id="rId15"/>
  </p:notesMasterIdLst>
  <p:sldIdLst>
    <p:sldId id="2134805212" r:id="rId3"/>
    <p:sldId id="2134805204" r:id="rId4"/>
    <p:sldId id="2134805205" r:id="rId5"/>
    <p:sldId id="2134805206" r:id="rId6"/>
    <p:sldId id="2134805207" r:id="rId7"/>
    <p:sldId id="2134805208" r:id="rId8"/>
    <p:sldId id="2134805210" r:id="rId9"/>
    <p:sldId id="2134805215" r:id="rId10"/>
    <p:sldId id="2134805209" r:id="rId11"/>
    <p:sldId id="2134805214" r:id="rId12"/>
    <p:sldId id="267" r:id="rId13"/>
    <p:sldId id="213480519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454"/>
    <a:srgbClr val="EEE7E7"/>
    <a:srgbClr val="BB2B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27842F-C109-81BE-93CA-7BDD6BE0865B}" v="561" dt="2022-07-11T21:17:16.940"/>
    <p1510:client id="{0305353D-73B5-74B9-0B94-184F8F0753FA}" v="3" dt="2022-09-02T20:02:31.025"/>
    <p1510:client id="{2744DEA7-FCBC-8E4A-B14B-6D52CD33FD55}" v="2" dt="2022-08-17T22:31:37.927"/>
    <p1510:client id="{378A209F-58E7-5791-A0F5-66B96846F3A5}" v="780" dt="2022-07-11T19:33:15.673"/>
    <p1510:client id="{570509B2-0F7A-4CAD-A758-9125052E18D4}" v="2062" dt="2022-07-12T18:52:17.118"/>
    <p1510:client id="{60634083-C8B6-08C4-D9DC-855F9D1E8858}" v="389" dt="2022-07-12T19:03:41.335"/>
    <p1510:client id="{694F77ED-FEA8-1573-BDB0-2C370DC444C2}" v="48" dt="2022-07-11T19:31:12.113"/>
    <p1510:client id="{9B321772-FB74-C410-BDED-625735A29860}" v="22" dt="2022-07-12T19:15:02.983"/>
    <p1510:client id="{A767A155-2D8E-474A-D377-E9F0CEF559C6}" v="4" dt="2022-07-11T19:04:52.502"/>
    <p1510:client id="{EDB89A65-2C49-D8B3-0497-7AD97FFB6969}" v="10" dt="2022-07-15T21:25:53.9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21"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jinski, Leslie A." userId="S::leslie.a.kijinski@accenture.com::2d50926b-9a94-40c3-b261-7d7d50cc6208" providerId="AD" clId="Web-{694F77ED-FEA8-1573-BDB0-2C370DC444C2}"/>
    <pc:docChg chg="modSld">
      <pc:chgData name="Kijinski, Leslie A." userId="S::leslie.a.kijinski@accenture.com::2d50926b-9a94-40c3-b261-7d7d50cc6208" providerId="AD" clId="Web-{694F77ED-FEA8-1573-BDB0-2C370DC444C2}" dt="2022-07-11T19:31:12.113" v="29" actId="20577"/>
      <pc:docMkLst>
        <pc:docMk/>
      </pc:docMkLst>
      <pc:sldChg chg="delSp modSp">
        <pc:chgData name="Kijinski, Leslie A." userId="S::leslie.a.kijinski@accenture.com::2d50926b-9a94-40c3-b261-7d7d50cc6208" providerId="AD" clId="Web-{694F77ED-FEA8-1573-BDB0-2C370DC444C2}" dt="2022-07-11T19:28:13.217" v="27" actId="1076"/>
        <pc:sldMkLst>
          <pc:docMk/>
          <pc:sldMk cId="2530484429" sldId="260"/>
        </pc:sldMkLst>
        <pc:graphicFrameChg chg="mod modGraphic">
          <ac:chgData name="Kijinski, Leslie A." userId="S::leslie.a.kijinski@accenture.com::2d50926b-9a94-40c3-b261-7d7d50cc6208" providerId="AD" clId="Web-{694F77ED-FEA8-1573-BDB0-2C370DC444C2}" dt="2022-07-11T19:28:13.217" v="27" actId="1076"/>
          <ac:graphicFrameMkLst>
            <pc:docMk/>
            <pc:sldMk cId="2530484429" sldId="260"/>
            <ac:graphicFrameMk id="4" creationId="{75267EDC-709A-0A37-8EF4-86F3A93FCA9D}"/>
          </ac:graphicFrameMkLst>
        </pc:graphicFrameChg>
        <pc:picChg chg="mod">
          <ac:chgData name="Kijinski, Leslie A." userId="S::leslie.a.kijinski@accenture.com::2d50926b-9a94-40c3-b261-7d7d50cc6208" providerId="AD" clId="Web-{694F77ED-FEA8-1573-BDB0-2C370DC444C2}" dt="2022-07-11T19:27:59.919" v="24" actId="1076"/>
          <ac:picMkLst>
            <pc:docMk/>
            <pc:sldMk cId="2530484429" sldId="260"/>
            <ac:picMk id="2" creationId="{E57537BC-5A50-5280-BB22-F07F39C1AFB0}"/>
          </ac:picMkLst>
        </pc:picChg>
        <pc:picChg chg="mod">
          <ac:chgData name="Kijinski, Leslie A." userId="S::leslie.a.kijinski@accenture.com::2d50926b-9a94-40c3-b261-7d7d50cc6208" providerId="AD" clId="Web-{694F77ED-FEA8-1573-BDB0-2C370DC444C2}" dt="2022-07-11T19:27:58.029" v="23" actId="1076"/>
          <ac:picMkLst>
            <pc:docMk/>
            <pc:sldMk cId="2530484429" sldId="260"/>
            <ac:picMk id="8" creationId="{E212EA05-206D-38F6-1714-8FFE89080D8E}"/>
          </ac:picMkLst>
        </pc:picChg>
        <pc:picChg chg="del">
          <ac:chgData name="Kijinski, Leslie A." userId="S::leslie.a.kijinski@accenture.com::2d50926b-9a94-40c3-b261-7d7d50cc6208" providerId="AD" clId="Web-{694F77ED-FEA8-1573-BDB0-2C370DC444C2}" dt="2022-07-11T19:27:50.294" v="21"/>
          <ac:picMkLst>
            <pc:docMk/>
            <pc:sldMk cId="2530484429" sldId="260"/>
            <ac:picMk id="13" creationId="{0A6484EA-BD5F-21A2-4C44-588E6664B6B8}"/>
          </ac:picMkLst>
        </pc:picChg>
        <pc:picChg chg="del">
          <ac:chgData name="Kijinski, Leslie A." userId="S::leslie.a.kijinski@accenture.com::2d50926b-9a94-40c3-b261-7d7d50cc6208" providerId="AD" clId="Web-{694F77ED-FEA8-1573-BDB0-2C370DC444C2}" dt="2022-07-11T19:27:39.950" v="18"/>
          <ac:picMkLst>
            <pc:docMk/>
            <pc:sldMk cId="2530484429" sldId="260"/>
            <ac:picMk id="14" creationId="{D3C1B7E6-63A8-EC8D-0E50-4E03F7B20718}"/>
          </ac:picMkLst>
        </pc:picChg>
      </pc:sldChg>
      <pc:sldChg chg="modSp">
        <pc:chgData name="Kijinski, Leslie A." userId="S::leslie.a.kijinski@accenture.com::2d50926b-9a94-40c3-b261-7d7d50cc6208" providerId="AD" clId="Web-{694F77ED-FEA8-1573-BDB0-2C370DC444C2}" dt="2022-07-11T19:26:40.792" v="17"/>
        <pc:sldMkLst>
          <pc:docMk/>
          <pc:sldMk cId="3668454863" sldId="2134805197"/>
        </pc:sldMkLst>
        <pc:graphicFrameChg chg="mod modGraphic">
          <ac:chgData name="Kijinski, Leslie A." userId="S::leslie.a.kijinski@accenture.com::2d50926b-9a94-40c3-b261-7d7d50cc6208" providerId="AD" clId="Web-{694F77ED-FEA8-1573-BDB0-2C370DC444C2}" dt="2022-07-11T19:26:40.792" v="17"/>
          <ac:graphicFrameMkLst>
            <pc:docMk/>
            <pc:sldMk cId="3668454863" sldId="2134805197"/>
            <ac:graphicFrameMk id="7" creationId="{69CB2100-137C-4779-AB90-7427C4A33A74}"/>
          </ac:graphicFrameMkLst>
        </pc:graphicFrameChg>
      </pc:sldChg>
      <pc:sldChg chg="modSp">
        <pc:chgData name="Kijinski, Leslie A." userId="S::leslie.a.kijinski@accenture.com::2d50926b-9a94-40c3-b261-7d7d50cc6208" providerId="AD" clId="Web-{694F77ED-FEA8-1573-BDB0-2C370DC444C2}" dt="2022-07-11T19:31:12.113" v="29" actId="20577"/>
        <pc:sldMkLst>
          <pc:docMk/>
          <pc:sldMk cId="452683512" sldId="2134805212"/>
        </pc:sldMkLst>
        <pc:spChg chg="mod">
          <ac:chgData name="Kijinski, Leslie A." userId="S::leslie.a.kijinski@accenture.com::2d50926b-9a94-40c3-b261-7d7d50cc6208" providerId="AD" clId="Web-{694F77ED-FEA8-1573-BDB0-2C370DC444C2}" dt="2022-07-11T19:31:12.113" v="29" actId="20577"/>
          <ac:spMkLst>
            <pc:docMk/>
            <pc:sldMk cId="452683512" sldId="2134805212"/>
            <ac:spMk id="7" creationId="{6F1D5453-2131-4144-82F7-F74904792892}"/>
          </ac:spMkLst>
        </pc:spChg>
      </pc:sldChg>
    </pc:docChg>
  </pc:docChgLst>
  <pc:docChgLst>
    <pc:chgData name="Okoye, Ogo" userId="S::ogochukwu.okoye@accenture.com::c42de8fc-8b09-4869-a5db-b98bbd7b16ce" providerId="AD" clId="Web-{A767A155-2D8E-474A-D377-E9F0CEF559C6}"/>
    <pc:docChg chg="delSld modSld">
      <pc:chgData name="Okoye, Ogo" userId="S::ogochukwu.okoye@accenture.com::c42de8fc-8b09-4869-a5db-b98bbd7b16ce" providerId="AD" clId="Web-{A767A155-2D8E-474A-D377-E9F0CEF559C6}" dt="2022-07-11T19:04:52.502" v="3" actId="1076"/>
      <pc:docMkLst>
        <pc:docMk/>
      </pc:docMkLst>
      <pc:sldChg chg="del">
        <pc:chgData name="Okoye, Ogo" userId="S::ogochukwu.okoye@accenture.com::c42de8fc-8b09-4869-a5db-b98bbd7b16ce" providerId="AD" clId="Web-{A767A155-2D8E-474A-D377-E9F0CEF559C6}" dt="2022-07-11T19:04:43.533" v="1"/>
        <pc:sldMkLst>
          <pc:docMk/>
          <pc:sldMk cId="3786903442" sldId="2134805192"/>
        </pc:sldMkLst>
      </pc:sldChg>
      <pc:sldChg chg="delSp modSp mod modShow">
        <pc:chgData name="Okoye, Ogo" userId="S::ogochukwu.okoye@accenture.com::c42de8fc-8b09-4869-a5db-b98bbd7b16ce" providerId="AD" clId="Web-{A767A155-2D8E-474A-D377-E9F0CEF559C6}" dt="2022-07-11T19:04:52.502" v="3" actId="1076"/>
        <pc:sldMkLst>
          <pc:docMk/>
          <pc:sldMk cId="625372562" sldId="2134805193"/>
        </pc:sldMkLst>
        <pc:picChg chg="mod">
          <ac:chgData name="Okoye, Ogo" userId="S::ogochukwu.okoye@accenture.com::c42de8fc-8b09-4869-a5db-b98bbd7b16ce" providerId="AD" clId="Web-{A767A155-2D8E-474A-D377-E9F0CEF559C6}" dt="2022-07-11T19:04:52.502" v="3" actId="1076"/>
          <ac:picMkLst>
            <pc:docMk/>
            <pc:sldMk cId="625372562" sldId="2134805193"/>
            <ac:picMk id="2" creationId="{B6F60CE6-E7EE-FD0B-375C-2441700EE887}"/>
          </ac:picMkLst>
        </pc:picChg>
        <pc:picChg chg="del">
          <ac:chgData name="Okoye, Ogo" userId="S::ogochukwu.okoye@accenture.com::c42de8fc-8b09-4869-a5db-b98bbd7b16ce" providerId="AD" clId="Web-{A767A155-2D8E-474A-D377-E9F0CEF559C6}" dt="2022-07-11T19:04:49.908" v="2"/>
          <ac:picMkLst>
            <pc:docMk/>
            <pc:sldMk cId="625372562" sldId="2134805193"/>
            <ac:picMk id="7" creationId="{B9F43FF6-3101-BF1D-4D2B-08EEBC16B8D4}"/>
          </ac:picMkLst>
        </pc:picChg>
      </pc:sldChg>
    </pc:docChg>
  </pc:docChgLst>
  <pc:docChgLst>
    <pc:chgData name="Okoye, Ogo" userId="S::ogochukwu.okoye@accenture.com::c42de8fc-8b09-4869-a5db-b98bbd7b16ce" providerId="AD" clId="Web-{2F030DAB-0E48-D158-B3C5-99D12D43F599}"/>
    <pc:docChg chg="modSld">
      <pc:chgData name="Okoye, Ogo" userId="S::ogochukwu.okoye@accenture.com::c42de8fc-8b09-4869-a5db-b98bbd7b16ce" providerId="AD" clId="Web-{2F030DAB-0E48-D158-B3C5-99D12D43F599}" dt="2022-07-08T19:44:19.364" v="2" actId="20577"/>
      <pc:docMkLst>
        <pc:docMk/>
      </pc:docMkLst>
      <pc:sldChg chg="modSp">
        <pc:chgData name="Okoye, Ogo" userId="S::ogochukwu.okoye@accenture.com::c42de8fc-8b09-4869-a5db-b98bbd7b16ce" providerId="AD" clId="Web-{2F030DAB-0E48-D158-B3C5-99D12D43F599}" dt="2022-07-08T19:44:19.364" v="2" actId="20577"/>
        <pc:sldMkLst>
          <pc:docMk/>
          <pc:sldMk cId="3172122246" sldId="2134805191"/>
        </pc:sldMkLst>
        <pc:spChg chg="mod">
          <ac:chgData name="Okoye, Ogo" userId="S::ogochukwu.okoye@accenture.com::c42de8fc-8b09-4869-a5db-b98bbd7b16ce" providerId="AD" clId="Web-{2F030DAB-0E48-D158-B3C5-99D12D43F599}" dt="2022-07-08T19:44:19.364" v="2" actId="20577"/>
          <ac:spMkLst>
            <pc:docMk/>
            <pc:sldMk cId="3172122246" sldId="2134805191"/>
            <ac:spMk id="4" creationId="{CF64A966-A6DE-4577-B8C8-55A455B38A97}"/>
          </ac:spMkLst>
        </pc:spChg>
      </pc:sldChg>
    </pc:docChg>
  </pc:docChgLst>
  <pc:docChgLst>
    <pc:chgData name="Okoye, Ogo" userId="c42de8fc-8b09-4869-a5db-b98bbd7b16ce" providerId="ADAL" clId="{570509B2-0F7A-4CAD-A758-9125052E18D4}"/>
    <pc:docChg chg="undo custSel addSld delSld modSld sldOrd">
      <pc:chgData name="Okoye, Ogo" userId="c42de8fc-8b09-4869-a5db-b98bbd7b16ce" providerId="ADAL" clId="{570509B2-0F7A-4CAD-A758-9125052E18D4}" dt="2022-07-12T18:53:07.166" v="2415" actId="20577"/>
      <pc:docMkLst>
        <pc:docMk/>
      </pc:docMkLst>
      <pc:sldChg chg="modSp">
        <pc:chgData name="Okoye, Ogo" userId="c42de8fc-8b09-4869-a5db-b98bbd7b16ce" providerId="ADAL" clId="{570509B2-0F7A-4CAD-A758-9125052E18D4}" dt="2022-07-11T19:36:18.633" v="38"/>
        <pc:sldMkLst>
          <pc:docMk/>
          <pc:sldMk cId="2530484429" sldId="260"/>
        </pc:sldMkLst>
        <pc:graphicFrameChg chg="mod">
          <ac:chgData name="Okoye, Ogo" userId="c42de8fc-8b09-4869-a5db-b98bbd7b16ce" providerId="ADAL" clId="{570509B2-0F7A-4CAD-A758-9125052E18D4}" dt="2022-07-11T19:36:18.633" v="38"/>
          <ac:graphicFrameMkLst>
            <pc:docMk/>
            <pc:sldMk cId="2530484429" sldId="260"/>
            <ac:graphicFrameMk id="4" creationId="{75267EDC-709A-0A37-8EF4-86F3A93FCA9D}"/>
          </ac:graphicFrameMkLst>
        </pc:graphicFrameChg>
      </pc:sldChg>
      <pc:sldChg chg="modSp mod ord">
        <pc:chgData name="Okoye, Ogo" userId="c42de8fc-8b09-4869-a5db-b98bbd7b16ce" providerId="ADAL" clId="{570509B2-0F7A-4CAD-A758-9125052E18D4}" dt="2022-07-11T19:42:10.168" v="87" actId="20577"/>
        <pc:sldMkLst>
          <pc:docMk/>
          <pc:sldMk cId="4194863863" sldId="261"/>
        </pc:sldMkLst>
        <pc:graphicFrameChg chg="mod modGraphic">
          <ac:chgData name="Okoye, Ogo" userId="c42de8fc-8b09-4869-a5db-b98bbd7b16ce" providerId="ADAL" clId="{570509B2-0F7A-4CAD-A758-9125052E18D4}" dt="2022-07-11T19:42:10.168" v="87" actId="20577"/>
          <ac:graphicFrameMkLst>
            <pc:docMk/>
            <pc:sldMk cId="4194863863" sldId="261"/>
            <ac:graphicFrameMk id="8" creationId="{A0E88ACC-7BE3-F8F6-3762-ACF434134537}"/>
          </ac:graphicFrameMkLst>
        </pc:graphicFrameChg>
      </pc:sldChg>
      <pc:sldChg chg="addSp modSp mod">
        <pc:chgData name="Okoye, Ogo" userId="c42de8fc-8b09-4869-a5db-b98bbd7b16ce" providerId="ADAL" clId="{570509B2-0F7A-4CAD-A758-9125052E18D4}" dt="2022-07-11T19:41:58.648" v="83" actId="20577"/>
        <pc:sldMkLst>
          <pc:docMk/>
          <pc:sldMk cId="3668454863" sldId="2134805197"/>
        </pc:sldMkLst>
        <pc:grpChg chg="add mod">
          <ac:chgData name="Okoye, Ogo" userId="c42de8fc-8b09-4869-a5db-b98bbd7b16ce" providerId="ADAL" clId="{570509B2-0F7A-4CAD-A758-9125052E18D4}" dt="2022-07-11T19:39:32.989" v="71" actId="14100"/>
          <ac:grpSpMkLst>
            <pc:docMk/>
            <pc:sldMk cId="3668454863" sldId="2134805197"/>
            <ac:grpSpMk id="5" creationId="{E290FE2F-42E4-449C-A7A2-B0E2EB5A000A}"/>
          </ac:grpSpMkLst>
        </pc:grpChg>
        <pc:graphicFrameChg chg="mod modGraphic">
          <ac:chgData name="Okoye, Ogo" userId="c42de8fc-8b09-4869-a5db-b98bbd7b16ce" providerId="ADAL" clId="{570509B2-0F7A-4CAD-A758-9125052E18D4}" dt="2022-07-11T19:41:58.648" v="83" actId="20577"/>
          <ac:graphicFrameMkLst>
            <pc:docMk/>
            <pc:sldMk cId="3668454863" sldId="2134805197"/>
            <ac:graphicFrameMk id="7" creationId="{69CB2100-137C-4779-AB90-7427C4A33A74}"/>
          </ac:graphicFrameMkLst>
        </pc:graphicFrameChg>
        <pc:picChg chg="mod">
          <ac:chgData name="Okoye, Ogo" userId="c42de8fc-8b09-4869-a5db-b98bbd7b16ce" providerId="ADAL" clId="{570509B2-0F7A-4CAD-A758-9125052E18D4}" dt="2022-07-11T19:39:55.966" v="74" actId="14100"/>
          <ac:picMkLst>
            <pc:docMk/>
            <pc:sldMk cId="3668454863" sldId="2134805197"/>
            <ac:picMk id="2" creationId="{C82885B3-187B-AAF4-DAD4-6B84BD56AE32}"/>
          </ac:picMkLst>
        </pc:picChg>
        <pc:picChg chg="mod">
          <ac:chgData name="Okoye, Ogo" userId="c42de8fc-8b09-4869-a5db-b98bbd7b16ce" providerId="ADAL" clId="{570509B2-0F7A-4CAD-A758-9125052E18D4}" dt="2022-07-11T19:36:29.684" v="40" actId="1076"/>
          <ac:picMkLst>
            <pc:docMk/>
            <pc:sldMk cId="3668454863" sldId="2134805197"/>
            <ac:picMk id="3" creationId="{D48F69A0-A5C9-2DE0-7A06-3E7B65DD67D4}"/>
          </ac:picMkLst>
        </pc:picChg>
        <pc:picChg chg="mod">
          <ac:chgData name="Okoye, Ogo" userId="c42de8fc-8b09-4869-a5db-b98bbd7b16ce" providerId="ADAL" clId="{570509B2-0F7A-4CAD-A758-9125052E18D4}" dt="2022-07-11T19:38:15.764" v="63" actId="164"/>
          <ac:picMkLst>
            <pc:docMk/>
            <pc:sldMk cId="3668454863" sldId="2134805197"/>
            <ac:picMk id="8" creationId="{2B630541-26DF-0B52-0F3D-BFFF589DCE2E}"/>
          </ac:picMkLst>
        </pc:picChg>
      </pc:sldChg>
      <pc:sldChg chg="modSp">
        <pc:chgData name="Okoye, Ogo" userId="c42de8fc-8b09-4869-a5db-b98bbd7b16ce" providerId="ADAL" clId="{570509B2-0F7A-4CAD-A758-9125052E18D4}" dt="2022-07-11T19:36:18.633" v="38"/>
        <pc:sldMkLst>
          <pc:docMk/>
          <pc:sldMk cId="3955135530" sldId="2134805198"/>
        </pc:sldMkLst>
        <pc:graphicFrameChg chg="mod">
          <ac:chgData name="Okoye, Ogo" userId="c42de8fc-8b09-4869-a5db-b98bbd7b16ce" providerId="ADAL" clId="{570509B2-0F7A-4CAD-A758-9125052E18D4}" dt="2022-07-11T19:36:18.633" v="38"/>
          <ac:graphicFrameMkLst>
            <pc:docMk/>
            <pc:sldMk cId="3955135530" sldId="2134805198"/>
            <ac:graphicFrameMk id="8" creationId="{A0E88ACC-7BE3-F8F6-3762-ACF434134537}"/>
          </ac:graphicFrameMkLst>
        </pc:graphicFrameChg>
      </pc:sldChg>
      <pc:sldChg chg="modSp">
        <pc:chgData name="Okoye, Ogo" userId="c42de8fc-8b09-4869-a5db-b98bbd7b16ce" providerId="ADAL" clId="{570509B2-0F7A-4CAD-A758-9125052E18D4}" dt="2022-07-11T19:36:18.633" v="38"/>
        <pc:sldMkLst>
          <pc:docMk/>
          <pc:sldMk cId="340157503" sldId="2134805199"/>
        </pc:sldMkLst>
        <pc:graphicFrameChg chg="mod">
          <ac:chgData name="Okoye, Ogo" userId="c42de8fc-8b09-4869-a5db-b98bbd7b16ce" providerId="ADAL" clId="{570509B2-0F7A-4CAD-A758-9125052E18D4}" dt="2022-07-11T19:36:18.633" v="38"/>
          <ac:graphicFrameMkLst>
            <pc:docMk/>
            <pc:sldMk cId="340157503" sldId="2134805199"/>
            <ac:graphicFrameMk id="8" creationId="{A0E88ACC-7BE3-F8F6-3762-ACF434134537}"/>
          </ac:graphicFrameMkLst>
        </pc:graphicFrameChg>
      </pc:sldChg>
      <pc:sldChg chg="modSp">
        <pc:chgData name="Okoye, Ogo" userId="c42de8fc-8b09-4869-a5db-b98bbd7b16ce" providerId="ADAL" clId="{570509B2-0F7A-4CAD-A758-9125052E18D4}" dt="2022-07-11T19:36:18.633" v="38"/>
        <pc:sldMkLst>
          <pc:docMk/>
          <pc:sldMk cId="622821397" sldId="2134805200"/>
        </pc:sldMkLst>
        <pc:graphicFrameChg chg="mod">
          <ac:chgData name="Okoye, Ogo" userId="c42de8fc-8b09-4869-a5db-b98bbd7b16ce" providerId="ADAL" clId="{570509B2-0F7A-4CAD-A758-9125052E18D4}" dt="2022-07-11T19:36:18.633" v="38"/>
          <ac:graphicFrameMkLst>
            <pc:docMk/>
            <pc:sldMk cId="622821397" sldId="2134805200"/>
            <ac:graphicFrameMk id="8" creationId="{A0E88ACC-7BE3-F8F6-3762-ACF434134537}"/>
          </ac:graphicFrameMkLst>
        </pc:graphicFrameChg>
      </pc:sldChg>
      <pc:sldChg chg="modSp">
        <pc:chgData name="Okoye, Ogo" userId="c42de8fc-8b09-4869-a5db-b98bbd7b16ce" providerId="ADAL" clId="{570509B2-0F7A-4CAD-A758-9125052E18D4}" dt="2022-07-11T19:36:18.633" v="38"/>
        <pc:sldMkLst>
          <pc:docMk/>
          <pc:sldMk cId="20025668" sldId="2134805201"/>
        </pc:sldMkLst>
        <pc:graphicFrameChg chg="mod">
          <ac:chgData name="Okoye, Ogo" userId="c42de8fc-8b09-4869-a5db-b98bbd7b16ce" providerId="ADAL" clId="{570509B2-0F7A-4CAD-A758-9125052E18D4}" dt="2022-07-11T19:36:18.633" v="38"/>
          <ac:graphicFrameMkLst>
            <pc:docMk/>
            <pc:sldMk cId="20025668" sldId="2134805201"/>
            <ac:graphicFrameMk id="8" creationId="{A0E88ACC-7BE3-F8F6-3762-ACF434134537}"/>
          </ac:graphicFrameMkLst>
        </pc:graphicFrameChg>
      </pc:sldChg>
      <pc:sldChg chg="modSp">
        <pc:chgData name="Okoye, Ogo" userId="c42de8fc-8b09-4869-a5db-b98bbd7b16ce" providerId="ADAL" clId="{570509B2-0F7A-4CAD-A758-9125052E18D4}" dt="2022-07-11T19:36:18.633" v="38"/>
        <pc:sldMkLst>
          <pc:docMk/>
          <pc:sldMk cId="3549426002" sldId="2134805202"/>
        </pc:sldMkLst>
        <pc:graphicFrameChg chg="mod">
          <ac:chgData name="Okoye, Ogo" userId="c42de8fc-8b09-4869-a5db-b98bbd7b16ce" providerId="ADAL" clId="{570509B2-0F7A-4CAD-A758-9125052E18D4}" dt="2022-07-11T19:36:18.633" v="38"/>
          <ac:graphicFrameMkLst>
            <pc:docMk/>
            <pc:sldMk cId="3549426002" sldId="2134805202"/>
            <ac:graphicFrameMk id="8" creationId="{A0E88ACC-7BE3-F8F6-3762-ACF434134537}"/>
          </ac:graphicFrameMkLst>
        </pc:graphicFrameChg>
      </pc:sldChg>
      <pc:sldChg chg="modSp">
        <pc:chgData name="Okoye, Ogo" userId="c42de8fc-8b09-4869-a5db-b98bbd7b16ce" providerId="ADAL" clId="{570509B2-0F7A-4CAD-A758-9125052E18D4}" dt="2022-07-11T19:36:18.633" v="38"/>
        <pc:sldMkLst>
          <pc:docMk/>
          <pc:sldMk cId="2829868719" sldId="2134805203"/>
        </pc:sldMkLst>
        <pc:graphicFrameChg chg="mod">
          <ac:chgData name="Okoye, Ogo" userId="c42de8fc-8b09-4869-a5db-b98bbd7b16ce" providerId="ADAL" clId="{570509B2-0F7A-4CAD-A758-9125052E18D4}" dt="2022-07-11T19:36:18.633" v="38"/>
          <ac:graphicFrameMkLst>
            <pc:docMk/>
            <pc:sldMk cId="2829868719" sldId="2134805203"/>
            <ac:graphicFrameMk id="8" creationId="{A0E88ACC-7BE3-F8F6-3762-ACF434134537}"/>
          </ac:graphicFrameMkLst>
        </pc:graphicFrameChg>
      </pc:sldChg>
      <pc:sldChg chg="modSp mod">
        <pc:chgData name="Okoye, Ogo" userId="c42de8fc-8b09-4869-a5db-b98bbd7b16ce" providerId="ADAL" clId="{570509B2-0F7A-4CAD-A758-9125052E18D4}" dt="2022-07-11T19:59:46.122" v="507" actId="20577"/>
        <pc:sldMkLst>
          <pc:docMk/>
          <pc:sldMk cId="4254675854" sldId="2134805204"/>
        </pc:sldMkLst>
        <pc:spChg chg="mod">
          <ac:chgData name="Okoye, Ogo" userId="c42de8fc-8b09-4869-a5db-b98bbd7b16ce" providerId="ADAL" clId="{570509B2-0F7A-4CAD-A758-9125052E18D4}" dt="2022-07-11T19:46:45.754" v="101" actId="20577"/>
          <ac:spMkLst>
            <pc:docMk/>
            <pc:sldMk cId="4254675854" sldId="2134805204"/>
            <ac:spMk id="9" creationId="{43AB19C9-D5C3-4F76-978A-A55F70609C4A}"/>
          </ac:spMkLst>
        </pc:spChg>
        <pc:graphicFrameChg chg="mod modGraphic">
          <ac:chgData name="Okoye, Ogo" userId="c42de8fc-8b09-4869-a5db-b98bbd7b16ce" providerId="ADAL" clId="{570509B2-0F7A-4CAD-A758-9125052E18D4}" dt="2022-07-11T19:59:46.122" v="507" actId="20577"/>
          <ac:graphicFrameMkLst>
            <pc:docMk/>
            <pc:sldMk cId="4254675854" sldId="2134805204"/>
            <ac:graphicFrameMk id="7" creationId="{69CB2100-137C-4779-AB90-7427C4A33A74}"/>
          </ac:graphicFrameMkLst>
        </pc:graphicFrameChg>
      </pc:sldChg>
      <pc:sldChg chg="modSp mod">
        <pc:chgData name="Okoye, Ogo" userId="c42de8fc-8b09-4869-a5db-b98bbd7b16ce" providerId="ADAL" clId="{570509B2-0F7A-4CAD-A758-9125052E18D4}" dt="2022-07-11T21:11:28.241" v="1987" actId="1076"/>
        <pc:sldMkLst>
          <pc:docMk/>
          <pc:sldMk cId="3950332657" sldId="2134805205"/>
        </pc:sldMkLst>
        <pc:spChg chg="mod">
          <ac:chgData name="Okoye, Ogo" userId="c42de8fc-8b09-4869-a5db-b98bbd7b16ce" providerId="ADAL" clId="{570509B2-0F7A-4CAD-A758-9125052E18D4}" dt="2022-07-11T19:46:53.172" v="113" actId="20577"/>
          <ac:spMkLst>
            <pc:docMk/>
            <pc:sldMk cId="3950332657" sldId="2134805205"/>
            <ac:spMk id="9" creationId="{43AB19C9-D5C3-4F76-978A-A55F70609C4A}"/>
          </ac:spMkLst>
        </pc:spChg>
        <pc:graphicFrameChg chg="mod modGraphic">
          <ac:chgData name="Okoye, Ogo" userId="c42de8fc-8b09-4869-a5db-b98bbd7b16ce" providerId="ADAL" clId="{570509B2-0F7A-4CAD-A758-9125052E18D4}" dt="2022-07-11T20:08:24.019" v="773" actId="20577"/>
          <ac:graphicFrameMkLst>
            <pc:docMk/>
            <pc:sldMk cId="3950332657" sldId="2134805205"/>
            <ac:graphicFrameMk id="7" creationId="{69CB2100-137C-4779-AB90-7427C4A33A74}"/>
          </ac:graphicFrameMkLst>
        </pc:graphicFrameChg>
        <pc:picChg chg="mod">
          <ac:chgData name="Okoye, Ogo" userId="c42de8fc-8b09-4869-a5db-b98bbd7b16ce" providerId="ADAL" clId="{570509B2-0F7A-4CAD-A758-9125052E18D4}" dt="2022-07-11T21:11:28.241" v="1987" actId="1076"/>
          <ac:picMkLst>
            <pc:docMk/>
            <pc:sldMk cId="3950332657" sldId="2134805205"/>
            <ac:picMk id="2" creationId="{C82885B3-187B-AAF4-DAD4-6B84BD56AE32}"/>
          </ac:picMkLst>
        </pc:picChg>
        <pc:picChg chg="mod">
          <ac:chgData name="Okoye, Ogo" userId="c42de8fc-8b09-4869-a5db-b98bbd7b16ce" providerId="ADAL" clId="{570509B2-0F7A-4CAD-A758-9125052E18D4}" dt="2022-07-11T21:11:26.107" v="1985" actId="1076"/>
          <ac:picMkLst>
            <pc:docMk/>
            <pc:sldMk cId="3950332657" sldId="2134805205"/>
            <ac:picMk id="3" creationId="{D48F69A0-A5C9-2DE0-7A06-3E7B65DD67D4}"/>
          </ac:picMkLst>
        </pc:picChg>
        <pc:picChg chg="mod">
          <ac:chgData name="Okoye, Ogo" userId="c42de8fc-8b09-4869-a5db-b98bbd7b16ce" providerId="ADAL" clId="{570509B2-0F7A-4CAD-A758-9125052E18D4}" dt="2022-07-11T20:07:40.008" v="742" actId="1076"/>
          <ac:picMkLst>
            <pc:docMk/>
            <pc:sldMk cId="3950332657" sldId="2134805205"/>
            <ac:picMk id="8" creationId="{2B630541-26DF-0B52-0F3D-BFFF589DCE2E}"/>
          </ac:picMkLst>
        </pc:picChg>
      </pc:sldChg>
      <pc:sldChg chg="addSp delSp modSp mod">
        <pc:chgData name="Okoye, Ogo" userId="c42de8fc-8b09-4869-a5db-b98bbd7b16ce" providerId="ADAL" clId="{570509B2-0F7A-4CAD-A758-9125052E18D4}" dt="2022-07-11T20:32:17.837" v="1110" actId="20577"/>
        <pc:sldMkLst>
          <pc:docMk/>
          <pc:sldMk cId="2432513406" sldId="2134805206"/>
        </pc:sldMkLst>
        <pc:graphicFrameChg chg="add del mod modGraphic">
          <ac:chgData name="Okoye, Ogo" userId="c42de8fc-8b09-4869-a5db-b98bbd7b16ce" providerId="ADAL" clId="{570509B2-0F7A-4CAD-A758-9125052E18D4}" dt="2022-07-11T20:32:17.837" v="1110" actId="20577"/>
          <ac:graphicFrameMkLst>
            <pc:docMk/>
            <pc:sldMk cId="2432513406" sldId="2134805206"/>
            <ac:graphicFrameMk id="8" creationId="{A0E88ACC-7BE3-F8F6-3762-ACF434134537}"/>
          </ac:graphicFrameMkLst>
        </pc:graphicFrameChg>
        <pc:picChg chg="mod">
          <ac:chgData name="Okoye, Ogo" userId="c42de8fc-8b09-4869-a5db-b98bbd7b16ce" providerId="ADAL" clId="{570509B2-0F7A-4CAD-A758-9125052E18D4}" dt="2022-07-11T20:08:35.900" v="774" actId="1076"/>
          <ac:picMkLst>
            <pc:docMk/>
            <pc:sldMk cId="2432513406" sldId="2134805206"/>
            <ac:picMk id="13" creationId="{FDC61B82-0712-F914-B5A1-AEB0C02FF20A}"/>
          </ac:picMkLst>
        </pc:picChg>
      </pc:sldChg>
      <pc:sldChg chg="modSp mod">
        <pc:chgData name="Okoye, Ogo" userId="c42de8fc-8b09-4869-a5db-b98bbd7b16ce" providerId="ADAL" clId="{570509B2-0F7A-4CAD-A758-9125052E18D4}" dt="2022-07-12T18:47:13.359" v="2062" actId="6549"/>
        <pc:sldMkLst>
          <pc:docMk/>
          <pc:sldMk cId="907025948" sldId="2134805207"/>
        </pc:sldMkLst>
        <pc:spChg chg="mod">
          <ac:chgData name="Okoye, Ogo" userId="c42de8fc-8b09-4869-a5db-b98bbd7b16ce" providerId="ADAL" clId="{570509B2-0F7A-4CAD-A758-9125052E18D4}" dt="2022-07-12T18:47:13.359" v="2062" actId="6549"/>
          <ac:spMkLst>
            <pc:docMk/>
            <pc:sldMk cId="907025948" sldId="2134805207"/>
            <ac:spMk id="9" creationId="{43AB19C9-D5C3-4F76-978A-A55F70609C4A}"/>
          </ac:spMkLst>
        </pc:spChg>
        <pc:graphicFrameChg chg="mod modGraphic">
          <ac:chgData name="Okoye, Ogo" userId="c42de8fc-8b09-4869-a5db-b98bbd7b16ce" providerId="ADAL" clId="{570509B2-0F7A-4CAD-A758-9125052E18D4}" dt="2022-07-11T20:43:41.065" v="1446" actId="20577"/>
          <ac:graphicFrameMkLst>
            <pc:docMk/>
            <pc:sldMk cId="907025948" sldId="2134805207"/>
            <ac:graphicFrameMk id="8" creationId="{A0E88ACC-7BE3-F8F6-3762-ACF434134537}"/>
          </ac:graphicFrameMkLst>
        </pc:graphicFrameChg>
        <pc:picChg chg="mod">
          <ac:chgData name="Okoye, Ogo" userId="c42de8fc-8b09-4869-a5db-b98bbd7b16ce" providerId="ADAL" clId="{570509B2-0F7A-4CAD-A758-9125052E18D4}" dt="2022-07-11T20:38:07.387" v="1196" actId="1076"/>
          <ac:picMkLst>
            <pc:docMk/>
            <pc:sldMk cId="907025948" sldId="2134805207"/>
            <ac:picMk id="13" creationId="{FDC61B82-0712-F914-B5A1-AEB0C02FF20A}"/>
          </ac:picMkLst>
        </pc:picChg>
      </pc:sldChg>
      <pc:sldChg chg="modSp mod">
        <pc:chgData name="Okoye, Ogo" userId="c42de8fc-8b09-4869-a5db-b98bbd7b16ce" providerId="ADAL" clId="{570509B2-0F7A-4CAD-A758-9125052E18D4}" dt="2022-07-12T18:47:32.200" v="2064" actId="2711"/>
        <pc:sldMkLst>
          <pc:docMk/>
          <pc:sldMk cId="4182820077" sldId="2134805208"/>
        </pc:sldMkLst>
        <pc:spChg chg="mod">
          <ac:chgData name="Okoye, Ogo" userId="c42de8fc-8b09-4869-a5db-b98bbd7b16ce" providerId="ADAL" clId="{570509B2-0F7A-4CAD-A758-9125052E18D4}" dt="2022-07-12T18:47:32.200" v="2064" actId="2711"/>
          <ac:spMkLst>
            <pc:docMk/>
            <pc:sldMk cId="4182820077" sldId="2134805208"/>
            <ac:spMk id="9" creationId="{43AB19C9-D5C3-4F76-978A-A55F70609C4A}"/>
          </ac:spMkLst>
        </pc:spChg>
        <pc:graphicFrameChg chg="mod modGraphic">
          <ac:chgData name="Okoye, Ogo" userId="c42de8fc-8b09-4869-a5db-b98bbd7b16ce" providerId="ADAL" clId="{570509B2-0F7A-4CAD-A758-9125052E18D4}" dt="2022-07-11T20:51:03.506" v="1530" actId="20577"/>
          <ac:graphicFrameMkLst>
            <pc:docMk/>
            <pc:sldMk cId="4182820077" sldId="2134805208"/>
            <ac:graphicFrameMk id="8" creationId="{A0E88ACC-7BE3-F8F6-3762-ACF434134537}"/>
          </ac:graphicFrameMkLst>
        </pc:graphicFrameChg>
      </pc:sldChg>
      <pc:sldChg chg="modSp mod ord">
        <pc:chgData name="Okoye, Ogo" userId="c42de8fc-8b09-4869-a5db-b98bbd7b16ce" providerId="ADAL" clId="{570509B2-0F7A-4CAD-A758-9125052E18D4}" dt="2022-07-12T18:53:07.166" v="2415" actId="20577"/>
        <pc:sldMkLst>
          <pc:docMk/>
          <pc:sldMk cId="1968659463" sldId="2134805209"/>
        </pc:sldMkLst>
        <pc:spChg chg="mod">
          <ac:chgData name="Okoye, Ogo" userId="c42de8fc-8b09-4869-a5db-b98bbd7b16ce" providerId="ADAL" clId="{570509B2-0F7A-4CAD-A758-9125052E18D4}" dt="2022-07-12T18:53:07.166" v="2415" actId="20577"/>
          <ac:spMkLst>
            <pc:docMk/>
            <pc:sldMk cId="1968659463" sldId="2134805209"/>
            <ac:spMk id="9" creationId="{43AB19C9-D5C3-4F76-978A-A55F70609C4A}"/>
          </ac:spMkLst>
        </pc:spChg>
        <pc:graphicFrameChg chg="mod modGraphic">
          <ac:chgData name="Okoye, Ogo" userId="c42de8fc-8b09-4869-a5db-b98bbd7b16ce" providerId="ADAL" clId="{570509B2-0F7A-4CAD-A758-9125052E18D4}" dt="2022-07-12T18:51:41.328" v="2394" actId="20577"/>
          <ac:graphicFrameMkLst>
            <pc:docMk/>
            <pc:sldMk cId="1968659463" sldId="2134805209"/>
            <ac:graphicFrameMk id="8" creationId="{A0E88ACC-7BE3-F8F6-3762-ACF434134537}"/>
          </ac:graphicFrameMkLst>
        </pc:graphicFrameChg>
      </pc:sldChg>
      <pc:sldChg chg="addSp delSp modSp mod setBg">
        <pc:chgData name="Okoye, Ogo" userId="c42de8fc-8b09-4869-a5db-b98bbd7b16ce" providerId="ADAL" clId="{570509B2-0F7A-4CAD-A758-9125052E18D4}" dt="2022-07-12T18:52:34.809" v="2404" actId="6549"/>
        <pc:sldMkLst>
          <pc:docMk/>
          <pc:sldMk cId="581199878" sldId="2134805210"/>
        </pc:sldMkLst>
        <pc:spChg chg="mod">
          <ac:chgData name="Okoye, Ogo" userId="c42de8fc-8b09-4869-a5db-b98bbd7b16ce" providerId="ADAL" clId="{570509B2-0F7A-4CAD-A758-9125052E18D4}" dt="2022-07-12T18:52:34.809" v="2404" actId="6549"/>
          <ac:spMkLst>
            <pc:docMk/>
            <pc:sldMk cId="581199878" sldId="2134805210"/>
            <ac:spMk id="9" creationId="{43AB19C9-D5C3-4F76-978A-A55F70609C4A}"/>
          </ac:spMkLst>
        </pc:spChg>
        <pc:graphicFrameChg chg="add del mod modGraphic">
          <ac:chgData name="Okoye, Ogo" userId="c42de8fc-8b09-4869-a5db-b98bbd7b16ce" providerId="ADAL" clId="{570509B2-0F7A-4CAD-A758-9125052E18D4}" dt="2022-07-12T18:47:03.302" v="2061" actId="2165"/>
          <ac:graphicFrameMkLst>
            <pc:docMk/>
            <pc:sldMk cId="581199878" sldId="2134805210"/>
            <ac:graphicFrameMk id="8" creationId="{A0E88ACC-7BE3-F8F6-3762-ACF434134537}"/>
          </ac:graphicFrameMkLst>
        </pc:graphicFrameChg>
      </pc:sldChg>
      <pc:sldChg chg="modSp del mod modShow">
        <pc:chgData name="Okoye, Ogo" userId="c42de8fc-8b09-4869-a5db-b98bbd7b16ce" providerId="ADAL" clId="{570509B2-0F7A-4CAD-A758-9125052E18D4}" dt="2022-07-11T21:06:56.985" v="1942" actId="2696"/>
        <pc:sldMkLst>
          <pc:docMk/>
          <pc:sldMk cId="2957688605" sldId="2134805211"/>
        </pc:sldMkLst>
        <pc:graphicFrameChg chg="mod modGraphic">
          <ac:chgData name="Okoye, Ogo" userId="c42de8fc-8b09-4869-a5db-b98bbd7b16ce" providerId="ADAL" clId="{570509B2-0F7A-4CAD-A758-9125052E18D4}" dt="2022-07-11T20:58:27.249" v="1905" actId="21"/>
          <ac:graphicFrameMkLst>
            <pc:docMk/>
            <pc:sldMk cId="2957688605" sldId="2134805211"/>
            <ac:graphicFrameMk id="8" creationId="{A0E88ACC-7BE3-F8F6-3762-ACF434134537}"/>
          </ac:graphicFrameMkLst>
        </pc:graphicFrameChg>
      </pc:sldChg>
      <pc:sldChg chg="modSp mod">
        <pc:chgData name="Okoye, Ogo" userId="c42de8fc-8b09-4869-a5db-b98bbd7b16ce" providerId="ADAL" clId="{570509B2-0F7A-4CAD-A758-9125052E18D4}" dt="2022-07-11T19:40:11.992" v="75" actId="948"/>
        <pc:sldMkLst>
          <pc:docMk/>
          <pc:sldMk cId="452683512" sldId="2134805212"/>
        </pc:sldMkLst>
        <pc:spChg chg="mod">
          <ac:chgData name="Okoye, Ogo" userId="c42de8fc-8b09-4869-a5db-b98bbd7b16ce" providerId="ADAL" clId="{570509B2-0F7A-4CAD-A758-9125052E18D4}" dt="2022-07-11T19:35:24.135" v="36" actId="1076"/>
          <ac:spMkLst>
            <pc:docMk/>
            <pc:sldMk cId="452683512" sldId="2134805212"/>
            <ac:spMk id="3" creationId="{EA5062CB-E9B3-44F5-B02A-ACF5023B4203}"/>
          </ac:spMkLst>
        </pc:spChg>
        <pc:spChg chg="mod">
          <ac:chgData name="Okoye, Ogo" userId="c42de8fc-8b09-4869-a5db-b98bbd7b16ce" providerId="ADAL" clId="{570509B2-0F7A-4CAD-A758-9125052E18D4}" dt="2022-07-11T19:40:11.992" v="75" actId="948"/>
          <ac:spMkLst>
            <pc:docMk/>
            <pc:sldMk cId="452683512" sldId="2134805212"/>
            <ac:spMk id="7" creationId="{6F1D5453-2131-4144-82F7-F74904792892}"/>
          </ac:spMkLst>
        </pc:spChg>
        <pc:spChg chg="mod">
          <ac:chgData name="Okoye, Ogo" userId="c42de8fc-8b09-4869-a5db-b98bbd7b16ce" providerId="ADAL" clId="{570509B2-0F7A-4CAD-A758-9125052E18D4}" dt="2022-07-11T19:35:20.290" v="35" actId="1076"/>
          <ac:spMkLst>
            <pc:docMk/>
            <pc:sldMk cId="452683512" sldId="2134805212"/>
            <ac:spMk id="16" creationId="{428E3B9D-66E7-4999-B300-DB0C6285975D}"/>
          </ac:spMkLst>
        </pc:spChg>
      </pc:sldChg>
      <pc:sldChg chg="add mod modShow">
        <pc:chgData name="Okoye, Ogo" userId="c42de8fc-8b09-4869-a5db-b98bbd7b16ce" providerId="ADAL" clId="{570509B2-0F7A-4CAD-A758-9125052E18D4}" dt="2022-07-11T20:00:33.348" v="508" actId="729"/>
        <pc:sldMkLst>
          <pc:docMk/>
          <pc:sldMk cId="3257276002" sldId="2134805213"/>
        </pc:sldMkLst>
      </pc:sldChg>
      <pc:sldChg chg="addSp delSp modSp mod ord modShow">
        <pc:chgData name="Okoye, Ogo" userId="c42de8fc-8b09-4869-a5db-b98bbd7b16ce" providerId="ADAL" clId="{570509B2-0F7A-4CAD-A758-9125052E18D4}" dt="2022-07-12T18:52:04.835" v="2401" actId="729"/>
        <pc:sldMkLst>
          <pc:docMk/>
          <pc:sldMk cId="2892209149" sldId="2134805214"/>
        </pc:sldMkLst>
        <pc:graphicFrameChg chg="add del modGraphic">
          <ac:chgData name="Okoye, Ogo" userId="c42de8fc-8b09-4869-a5db-b98bbd7b16ce" providerId="ADAL" clId="{570509B2-0F7A-4CAD-A758-9125052E18D4}" dt="2022-07-11T21:07:28.891" v="1947" actId="14100"/>
          <ac:graphicFrameMkLst>
            <pc:docMk/>
            <pc:sldMk cId="2892209149" sldId="2134805214"/>
            <ac:graphicFrameMk id="8" creationId="{A0E88ACC-7BE3-F8F6-3762-ACF434134537}"/>
          </ac:graphicFrameMkLst>
        </pc:graphicFrameChg>
      </pc:sldChg>
      <pc:sldChg chg="modSp mod">
        <pc:chgData name="Okoye, Ogo" userId="c42de8fc-8b09-4869-a5db-b98bbd7b16ce" providerId="ADAL" clId="{570509B2-0F7A-4CAD-A758-9125052E18D4}" dt="2022-07-12T18:52:50.408" v="2410" actId="6549"/>
        <pc:sldMkLst>
          <pc:docMk/>
          <pc:sldMk cId="4099426190" sldId="2134805215"/>
        </pc:sldMkLst>
        <pc:spChg chg="mod">
          <ac:chgData name="Okoye, Ogo" userId="c42de8fc-8b09-4869-a5db-b98bbd7b16ce" providerId="ADAL" clId="{570509B2-0F7A-4CAD-A758-9125052E18D4}" dt="2022-07-12T18:52:50.408" v="2410" actId="6549"/>
          <ac:spMkLst>
            <pc:docMk/>
            <pc:sldMk cId="4099426190" sldId="2134805215"/>
            <ac:spMk id="9" creationId="{43AB19C9-D5C3-4F76-978A-A55F70609C4A}"/>
          </ac:spMkLst>
        </pc:spChg>
        <pc:graphicFrameChg chg="mod">
          <ac:chgData name="Okoye, Ogo" userId="c42de8fc-8b09-4869-a5db-b98bbd7b16ce" providerId="ADAL" clId="{570509B2-0F7A-4CAD-A758-9125052E18D4}" dt="2022-07-12T18:46:55.539" v="2060"/>
          <ac:graphicFrameMkLst>
            <pc:docMk/>
            <pc:sldMk cId="4099426190" sldId="2134805215"/>
            <ac:graphicFrameMk id="8" creationId="{A0E88ACC-7BE3-F8F6-3762-ACF434134537}"/>
          </ac:graphicFrameMkLst>
        </pc:graphicFrameChg>
      </pc:sldChg>
    </pc:docChg>
  </pc:docChgLst>
  <pc:docChgLst>
    <pc:chgData name="Okoye, Ogo" userId="S::ogochukwu.okoye@accenture.com::c42de8fc-8b09-4869-a5db-b98bbd7b16ce" providerId="AD" clId="Web-{378A209F-58E7-5791-A0F5-66B96846F3A5}"/>
    <pc:docChg chg="delSld modSld">
      <pc:chgData name="Okoye, Ogo" userId="S::ogochukwu.okoye@accenture.com::c42de8fc-8b09-4869-a5db-b98bbd7b16ce" providerId="AD" clId="Web-{378A209F-58E7-5791-A0F5-66B96846F3A5}" dt="2022-07-11T19:33:15.673" v="744" actId="20577"/>
      <pc:docMkLst>
        <pc:docMk/>
      </pc:docMkLst>
      <pc:sldChg chg="modSp">
        <pc:chgData name="Okoye, Ogo" userId="S::ogochukwu.okoye@accenture.com::c42de8fc-8b09-4869-a5db-b98bbd7b16ce" providerId="AD" clId="Web-{378A209F-58E7-5791-A0F5-66B96846F3A5}" dt="2022-07-11T19:16:42.630" v="633"/>
        <pc:sldMkLst>
          <pc:docMk/>
          <pc:sldMk cId="4194863863" sldId="261"/>
        </pc:sldMkLst>
        <pc:graphicFrameChg chg="mod modGraphic">
          <ac:chgData name="Okoye, Ogo" userId="S::ogochukwu.okoye@accenture.com::c42de8fc-8b09-4869-a5db-b98bbd7b16ce" providerId="AD" clId="Web-{378A209F-58E7-5791-A0F5-66B96846F3A5}" dt="2022-07-11T19:16:42.630" v="633"/>
          <ac:graphicFrameMkLst>
            <pc:docMk/>
            <pc:sldMk cId="4194863863" sldId="261"/>
            <ac:graphicFrameMk id="8" creationId="{A0E88ACC-7BE3-F8F6-3762-ACF434134537}"/>
          </ac:graphicFrameMkLst>
        </pc:graphicFrameChg>
      </pc:sldChg>
      <pc:sldChg chg="del">
        <pc:chgData name="Okoye, Ogo" userId="S::ogochukwu.okoye@accenture.com::c42de8fc-8b09-4869-a5db-b98bbd7b16ce" providerId="AD" clId="Web-{378A209F-58E7-5791-A0F5-66B96846F3A5}" dt="2022-07-11T19:06:33.004" v="0"/>
        <pc:sldMkLst>
          <pc:docMk/>
          <pc:sldMk cId="3172122246" sldId="2134805191"/>
        </pc:sldMkLst>
      </pc:sldChg>
      <pc:sldChg chg="del">
        <pc:chgData name="Okoye, Ogo" userId="S::ogochukwu.okoye@accenture.com::c42de8fc-8b09-4869-a5db-b98bbd7b16ce" providerId="AD" clId="Web-{378A209F-58E7-5791-A0F5-66B96846F3A5}" dt="2022-07-11T19:08:22.023" v="211"/>
        <pc:sldMkLst>
          <pc:docMk/>
          <pc:sldMk cId="625372562" sldId="2134805193"/>
        </pc:sldMkLst>
      </pc:sldChg>
      <pc:sldChg chg="modSp">
        <pc:chgData name="Okoye, Ogo" userId="S::ogochukwu.okoye@accenture.com::c42de8fc-8b09-4869-a5db-b98bbd7b16ce" providerId="AD" clId="Web-{378A209F-58E7-5791-A0F5-66B96846F3A5}" dt="2022-07-11T19:14:14.923" v="447"/>
        <pc:sldMkLst>
          <pc:docMk/>
          <pc:sldMk cId="3668454863" sldId="2134805197"/>
        </pc:sldMkLst>
        <pc:graphicFrameChg chg="mod modGraphic">
          <ac:chgData name="Okoye, Ogo" userId="S::ogochukwu.okoye@accenture.com::c42de8fc-8b09-4869-a5db-b98bbd7b16ce" providerId="AD" clId="Web-{378A209F-58E7-5791-A0F5-66B96846F3A5}" dt="2022-07-11T19:14:14.923" v="447"/>
          <ac:graphicFrameMkLst>
            <pc:docMk/>
            <pc:sldMk cId="3668454863" sldId="2134805197"/>
            <ac:graphicFrameMk id="7" creationId="{69CB2100-137C-4779-AB90-7427C4A33A74}"/>
          </ac:graphicFrameMkLst>
        </pc:graphicFrameChg>
      </pc:sldChg>
      <pc:sldChg chg="modSp">
        <pc:chgData name="Okoye, Ogo" userId="S::ogochukwu.okoye@accenture.com::c42de8fc-8b09-4869-a5db-b98bbd7b16ce" providerId="AD" clId="Web-{378A209F-58E7-5791-A0F5-66B96846F3A5}" dt="2022-07-11T19:33:15.673" v="744" actId="20577"/>
        <pc:sldMkLst>
          <pc:docMk/>
          <pc:sldMk cId="452683512" sldId="2134805212"/>
        </pc:sldMkLst>
        <pc:spChg chg="mod">
          <ac:chgData name="Okoye, Ogo" userId="S::ogochukwu.okoye@accenture.com::c42de8fc-8b09-4869-a5db-b98bbd7b16ce" providerId="AD" clId="Web-{378A209F-58E7-5791-A0F5-66B96846F3A5}" dt="2022-07-11T19:32:52.641" v="714" actId="1076"/>
          <ac:spMkLst>
            <pc:docMk/>
            <pc:sldMk cId="452683512" sldId="2134805212"/>
            <ac:spMk id="3" creationId="{EA5062CB-E9B3-44F5-B02A-ACF5023B4203}"/>
          </ac:spMkLst>
        </pc:spChg>
        <pc:spChg chg="mod">
          <ac:chgData name="Okoye, Ogo" userId="S::ogochukwu.okoye@accenture.com::c42de8fc-8b09-4869-a5db-b98bbd7b16ce" providerId="AD" clId="Web-{378A209F-58E7-5791-A0F5-66B96846F3A5}" dt="2022-07-11T19:33:15.673" v="744" actId="20577"/>
          <ac:spMkLst>
            <pc:docMk/>
            <pc:sldMk cId="452683512" sldId="2134805212"/>
            <ac:spMk id="7" creationId="{6F1D5453-2131-4144-82F7-F74904792892}"/>
          </ac:spMkLst>
        </pc:spChg>
        <pc:picChg chg="mod">
          <ac:chgData name="Okoye, Ogo" userId="S::ogochukwu.okoye@accenture.com::c42de8fc-8b09-4869-a5db-b98bbd7b16ce" providerId="AD" clId="Web-{378A209F-58E7-5791-A0F5-66B96846F3A5}" dt="2022-07-11T19:32:50.172" v="713" actId="1076"/>
          <ac:picMkLst>
            <pc:docMk/>
            <pc:sldMk cId="452683512" sldId="2134805212"/>
            <ac:picMk id="5" creationId="{584BCF50-C20A-4181-B5F4-8BA65113CD1B}"/>
          </ac:picMkLst>
        </pc:picChg>
      </pc:sldChg>
    </pc:docChg>
  </pc:docChgLst>
  <pc:docChgLst>
    <pc:chgData name="Pierre, Kelley" userId="S::kelley.pierre@accenture.com::75eb27c0-8a09-47b9-b68e-9e48882da6a6" providerId="AD" clId="Web-{0027842F-C109-81BE-93CA-7BDD6BE0865B}"/>
    <pc:docChg chg="addSld modSld sldOrd addMainMaster modMainMaster">
      <pc:chgData name="Pierre, Kelley" userId="S::kelley.pierre@accenture.com::75eb27c0-8a09-47b9-b68e-9e48882da6a6" providerId="AD" clId="Web-{0027842F-C109-81BE-93CA-7BDD6BE0865B}" dt="2022-07-11T21:17:16.940" v="457" actId="1076"/>
      <pc:docMkLst>
        <pc:docMk/>
      </pc:docMkLst>
      <pc:sldChg chg="modSp">
        <pc:chgData name="Pierre, Kelley" userId="S::kelley.pierre@accenture.com::75eb27c0-8a09-47b9-b68e-9e48882da6a6" providerId="AD" clId="Web-{0027842F-C109-81BE-93CA-7BDD6BE0865B}" dt="2022-07-11T13:32:59.967" v="47" actId="20577"/>
        <pc:sldMkLst>
          <pc:docMk/>
          <pc:sldMk cId="4194863863" sldId="261"/>
        </pc:sldMkLst>
        <pc:spChg chg="mod">
          <ac:chgData name="Pierre, Kelley" userId="S::kelley.pierre@accenture.com::75eb27c0-8a09-47b9-b68e-9e48882da6a6" providerId="AD" clId="Web-{0027842F-C109-81BE-93CA-7BDD6BE0865B}" dt="2022-07-11T13:32:59.967" v="47" actId="20577"/>
          <ac:spMkLst>
            <pc:docMk/>
            <pc:sldMk cId="4194863863" sldId="261"/>
            <ac:spMk id="9" creationId="{43AB19C9-D5C3-4F76-978A-A55F70609C4A}"/>
          </ac:spMkLst>
        </pc:spChg>
      </pc:sldChg>
      <pc:sldChg chg="delSp modSp">
        <pc:chgData name="Pierre, Kelley" userId="S::kelley.pierre@accenture.com::75eb27c0-8a09-47b9-b68e-9e48882da6a6" providerId="AD" clId="Web-{0027842F-C109-81BE-93CA-7BDD6BE0865B}" dt="2022-07-11T17:33:16.025" v="305"/>
        <pc:sldMkLst>
          <pc:docMk/>
          <pc:sldMk cId="3668454863" sldId="2134805197"/>
        </pc:sldMkLst>
        <pc:spChg chg="del">
          <ac:chgData name="Pierre, Kelley" userId="S::kelley.pierre@accenture.com::75eb27c0-8a09-47b9-b68e-9e48882da6a6" providerId="AD" clId="Web-{0027842F-C109-81BE-93CA-7BDD6BE0865B}" dt="2022-07-11T13:21:05.773" v="0"/>
          <ac:spMkLst>
            <pc:docMk/>
            <pc:sldMk cId="3668454863" sldId="2134805197"/>
            <ac:spMk id="5" creationId="{2D5EDFBA-390B-D4CD-75E3-8AE8E1527A3D}"/>
          </ac:spMkLst>
        </pc:spChg>
        <pc:graphicFrameChg chg="mod modGraphic">
          <ac:chgData name="Pierre, Kelley" userId="S::kelley.pierre@accenture.com::75eb27c0-8a09-47b9-b68e-9e48882da6a6" providerId="AD" clId="Web-{0027842F-C109-81BE-93CA-7BDD6BE0865B}" dt="2022-07-11T17:33:16.025" v="305"/>
          <ac:graphicFrameMkLst>
            <pc:docMk/>
            <pc:sldMk cId="3668454863" sldId="2134805197"/>
            <ac:graphicFrameMk id="7" creationId="{69CB2100-137C-4779-AB90-7427C4A33A74}"/>
          </ac:graphicFrameMkLst>
        </pc:graphicFrameChg>
      </pc:sldChg>
      <pc:sldChg chg="modSp">
        <pc:chgData name="Pierre, Kelley" userId="S::kelley.pierre@accenture.com::75eb27c0-8a09-47b9-b68e-9e48882da6a6" providerId="AD" clId="Web-{0027842F-C109-81BE-93CA-7BDD6BE0865B}" dt="2022-07-11T13:32:06.653" v="44" actId="20577"/>
        <pc:sldMkLst>
          <pc:docMk/>
          <pc:sldMk cId="3955135530" sldId="2134805198"/>
        </pc:sldMkLst>
        <pc:spChg chg="mod">
          <ac:chgData name="Pierre, Kelley" userId="S::kelley.pierre@accenture.com::75eb27c0-8a09-47b9-b68e-9e48882da6a6" providerId="AD" clId="Web-{0027842F-C109-81BE-93CA-7BDD6BE0865B}" dt="2022-07-11T13:32:06.653" v="44" actId="20577"/>
          <ac:spMkLst>
            <pc:docMk/>
            <pc:sldMk cId="3955135530" sldId="2134805198"/>
            <ac:spMk id="9" creationId="{43AB19C9-D5C3-4F76-978A-A55F70609C4A}"/>
          </ac:spMkLst>
        </pc:spChg>
      </pc:sldChg>
      <pc:sldChg chg="modSp add ord replId">
        <pc:chgData name="Pierre, Kelley" userId="S::kelley.pierre@accenture.com::75eb27c0-8a09-47b9-b68e-9e48882da6a6" providerId="AD" clId="Web-{0027842F-C109-81BE-93CA-7BDD6BE0865B}" dt="2022-07-11T21:12:46.261" v="452"/>
        <pc:sldMkLst>
          <pc:docMk/>
          <pc:sldMk cId="4254675854" sldId="2134805204"/>
        </pc:sldMkLst>
        <pc:spChg chg="mod">
          <ac:chgData name="Pierre, Kelley" userId="S::kelley.pierre@accenture.com::75eb27c0-8a09-47b9-b68e-9e48882da6a6" providerId="AD" clId="Web-{0027842F-C109-81BE-93CA-7BDD6BE0865B}" dt="2022-07-11T13:22:05.525" v="5" actId="20577"/>
          <ac:spMkLst>
            <pc:docMk/>
            <pc:sldMk cId="4254675854" sldId="2134805204"/>
            <ac:spMk id="9" creationId="{43AB19C9-D5C3-4F76-978A-A55F70609C4A}"/>
          </ac:spMkLst>
        </pc:spChg>
        <pc:graphicFrameChg chg="mod modGraphic">
          <ac:chgData name="Pierre, Kelley" userId="S::kelley.pierre@accenture.com::75eb27c0-8a09-47b9-b68e-9e48882da6a6" providerId="AD" clId="Web-{0027842F-C109-81BE-93CA-7BDD6BE0865B}" dt="2022-07-11T21:12:46.261" v="452"/>
          <ac:graphicFrameMkLst>
            <pc:docMk/>
            <pc:sldMk cId="4254675854" sldId="2134805204"/>
            <ac:graphicFrameMk id="7" creationId="{69CB2100-137C-4779-AB90-7427C4A33A74}"/>
          </ac:graphicFrameMkLst>
        </pc:graphicFrameChg>
        <pc:picChg chg="mod">
          <ac:chgData name="Pierre, Kelley" userId="S::kelley.pierre@accenture.com::75eb27c0-8a09-47b9-b68e-9e48882da6a6" providerId="AD" clId="Web-{0027842F-C109-81BE-93CA-7BDD6BE0865B}" dt="2022-07-11T21:12:37.542" v="451" actId="14100"/>
          <ac:picMkLst>
            <pc:docMk/>
            <pc:sldMk cId="4254675854" sldId="2134805204"/>
            <ac:picMk id="2" creationId="{C82885B3-187B-AAF4-DAD4-6B84BD56AE32}"/>
          </ac:picMkLst>
        </pc:picChg>
        <pc:picChg chg="mod">
          <ac:chgData name="Pierre, Kelley" userId="S::kelley.pierre@accenture.com::75eb27c0-8a09-47b9-b68e-9e48882da6a6" providerId="AD" clId="Web-{0027842F-C109-81BE-93CA-7BDD6BE0865B}" dt="2022-07-11T21:12:23.151" v="448" actId="14100"/>
          <ac:picMkLst>
            <pc:docMk/>
            <pc:sldMk cId="4254675854" sldId="2134805204"/>
            <ac:picMk id="8" creationId="{2B630541-26DF-0B52-0F3D-BFFF589DCE2E}"/>
          </ac:picMkLst>
        </pc:picChg>
      </pc:sldChg>
      <pc:sldChg chg="modSp add ord replId">
        <pc:chgData name="Pierre, Kelley" userId="S::kelley.pierre@accenture.com::75eb27c0-8a09-47b9-b68e-9e48882da6a6" providerId="AD" clId="Web-{0027842F-C109-81BE-93CA-7BDD6BE0865B}" dt="2022-07-11T21:11:42.260" v="447"/>
        <pc:sldMkLst>
          <pc:docMk/>
          <pc:sldMk cId="3950332657" sldId="2134805205"/>
        </pc:sldMkLst>
        <pc:graphicFrameChg chg="mod modGraphic">
          <ac:chgData name="Pierre, Kelley" userId="S::kelley.pierre@accenture.com::75eb27c0-8a09-47b9-b68e-9e48882da6a6" providerId="AD" clId="Web-{0027842F-C109-81BE-93CA-7BDD6BE0865B}" dt="2022-07-11T21:11:42.260" v="447"/>
          <ac:graphicFrameMkLst>
            <pc:docMk/>
            <pc:sldMk cId="3950332657" sldId="2134805205"/>
            <ac:graphicFrameMk id="7" creationId="{69CB2100-137C-4779-AB90-7427C4A33A74}"/>
          </ac:graphicFrameMkLst>
        </pc:graphicFrameChg>
        <pc:picChg chg="mod">
          <ac:chgData name="Pierre, Kelley" userId="S::kelley.pierre@accenture.com::75eb27c0-8a09-47b9-b68e-9e48882da6a6" providerId="AD" clId="Web-{0027842F-C109-81BE-93CA-7BDD6BE0865B}" dt="2022-07-11T21:10:59.477" v="444" actId="14100"/>
          <ac:picMkLst>
            <pc:docMk/>
            <pc:sldMk cId="3950332657" sldId="2134805205"/>
            <ac:picMk id="2" creationId="{C82885B3-187B-AAF4-DAD4-6B84BD56AE32}"/>
          </ac:picMkLst>
        </pc:picChg>
        <pc:picChg chg="mod">
          <ac:chgData name="Pierre, Kelley" userId="S::kelley.pierre@accenture.com::75eb27c0-8a09-47b9-b68e-9e48882da6a6" providerId="AD" clId="Web-{0027842F-C109-81BE-93CA-7BDD6BE0865B}" dt="2022-07-11T21:10:46.430" v="441" actId="14100"/>
          <ac:picMkLst>
            <pc:docMk/>
            <pc:sldMk cId="3950332657" sldId="2134805205"/>
            <ac:picMk id="8" creationId="{2B630541-26DF-0B52-0F3D-BFFF589DCE2E}"/>
          </ac:picMkLst>
        </pc:picChg>
      </pc:sldChg>
      <pc:sldChg chg="addSp modSp add ord replId">
        <pc:chgData name="Pierre, Kelley" userId="S::kelley.pierre@accenture.com::75eb27c0-8a09-47b9-b68e-9e48882da6a6" providerId="AD" clId="Web-{0027842F-C109-81BE-93CA-7BDD6BE0865B}" dt="2022-07-11T21:17:16.940" v="457" actId="1076"/>
        <pc:sldMkLst>
          <pc:docMk/>
          <pc:sldMk cId="2432513406" sldId="2134805206"/>
        </pc:sldMkLst>
        <pc:spChg chg="mod">
          <ac:chgData name="Pierre, Kelley" userId="S::kelley.pierre@accenture.com::75eb27c0-8a09-47b9-b68e-9e48882da6a6" providerId="AD" clId="Web-{0027842F-C109-81BE-93CA-7BDD6BE0865B}" dt="2022-07-11T13:33:18.686" v="52" actId="20577"/>
          <ac:spMkLst>
            <pc:docMk/>
            <pc:sldMk cId="2432513406" sldId="2134805206"/>
            <ac:spMk id="9" creationId="{43AB19C9-D5C3-4F76-978A-A55F70609C4A}"/>
          </ac:spMkLst>
        </pc:spChg>
        <pc:graphicFrameChg chg="mod modGraphic">
          <ac:chgData name="Pierre, Kelley" userId="S::kelley.pierre@accenture.com::75eb27c0-8a09-47b9-b68e-9e48882da6a6" providerId="AD" clId="Web-{0027842F-C109-81BE-93CA-7BDD6BE0865B}" dt="2022-07-11T20:15:26.001" v="408"/>
          <ac:graphicFrameMkLst>
            <pc:docMk/>
            <pc:sldMk cId="2432513406" sldId="2134805206"/>
            <ac:graphicFrameMk id="8" creationId="{A0E88ACC-7BE3-F8F6-3762-ACF434134537}"/>
          </ac:graphicFrameMkLst>
        </pc:graphicFrameChg>
        <pc:picChg chg="add mod">
          <ac:chgData name="Pierre, Kelley" userId="S::kelley.pierre@accenture.com::75eb27c0-8a09-47b9-b68e-9e48882da6a6" providerId="AD" clId="Web-{0027842F-C109-81BE-93CA-7BDD6BE0865B}" dt="2022-07-11T21:17:16.940" v="457" actId="1076"/>
          <ac:picMkLst>
            <pc:docMk/>
            <pc:sldMk cId="2432513406" sldId="2134805206"/>
            <ac:picMk id="2" creationId="{31DEF228-DE4F-F3A7-80A2-981C6DD1CA4D}"/>
          </ac:picMkLst>
        </pc:picChg>
        <pc:picChg chg="mod">
          <ac:chgData name="Pierre, Kelley" userId="S::kelley.pierre@accenture.com::75eb27c0-8a09-47b9-b68e-9e48882da6a6" providerId="AD" clId="Web-{0027842F-C109-81BE-93CA-7BDD6BE0865B}" dt="2022-07-11T20:21:24.385" v="425" actId="14100"/>
          <ac:picMkLst>
            <pc:docMk/>
            <pc:sldMk cId="2432513406" sldId="2134805206"/>
            <ac:picMk id="13" creationId="{FDC61B82-0712-F914-B5A1-AEB0C02FF20A}"/>
          </ac:picMkLst>
        </pc:picChg>
      </pc:sldChg>
      <pc:sldChg chg="modSp add ord replId">
        <pc:chgData name="Pierre, Kelley" userId="S::kelley.pierre@accenture.com::75eb27c0-8a09-47b9-b68e-9e48882da6a6" providerId="AD" clId="Web-{0027842F-C109-81BE-93CA-7BDD6BE0865B}" dt="2022-07-11T20:15:56.845" v="411"/>
        <pc:sldMkLst>
          <pc:docMk/>
          <pc:sldMk cId="907025948" sldId="2134805207"/>
        </pc:sldMkLst>
        <pc:graphicFrameChg chg="mod modGraphic">
          <ac:chgData name="Pierre, Kelley" userId="S::kelley.pierre@accenture.com::75eb27c0-8a09-47b9-b68e-9e48882da6a6" providerId="AD" clId="Web-{0027842F-C109-81BE-93CA-7BDD6BE0865B}" dt="2022-07-11T20:15:56.845" v="411"/>
          <ac:graphicFrameMkLst>
            <pc:docMk/>
            <pc:sldMk cId="907025948" sldId="2134805207"/>
            <ac:graphicFrameMk id="8" creationId="{A0E88ACC-7BE3-F8F6-3762-ACF434134537}"/>
          </ac:graphicFrameMkLst>
        </pc:graphicFrameChg>
        <pc:picChg chg="mod">
          <ac:chgData name="Pierre, Kelley" userId="S::kelley.pierre@accenture.com::75eb27c0-8a09-47b9-b68e-9e48882da6a6" providerId="AD" clId="Web-{0027842F-C109-81BE-93CA-7BDD6BE0865B}" dt="2022-07-11T19:57:12.520" v="352" actId="14100"/>
          <ac:picMkLst>
            <pc:docMk/>
            <pc:sldMk cId="907025948" sldId="2134805207"/>
            <ac:picMk id="13" creationId="{FDC61B82-0712-F914-B5A1-AEB0C02FF20A}"/>
          </ac:picMkLst>
        </pc:picChg>
      </pc:sldChg>
      <pc:sldChg chg="modSp add ord replId">
        <pc:chgData name="Pierre, Kelley" userId="S::kelley.pierre@accenture.com::75eb27c0-8a09-47b9-b68e-9e48882da6a6" providerId="AD" clId="Web-{0027842F-C109-81BE-93CA-7BDD6BE0865B}" dt="2022-07-11T20:16:19.299" v="412"/>
        <pc:sldMkLst>
          <pc:docMk/>
          <pc:sldMk cId="4182820077" sldId="2134805208"/>
        </pc:sldMkLst>
        <pc:spChg chg="mod">
          <ac:chgData name="Pierre, Kelley" userId="S::kelley.pierre@accenture.com::75eb27c0-8a09-47b9-b68e-9e48882da6a6" providerId="AD" clId="Web-{0027842F-C109-81BE-93CA-7BDD6BE0865B}" dt="2022-07-11T18:57:45.083" v="310" actId="20577"/>
          <ac:spMkLst>
            <pc:docMk/>
            <pc:sldMk cId="4182820077" sldId="2134805208"/>
            <ac:spMk id="9" creationId="{43AB19C9-D5C3-4F76-978A-A55F70609C4A}"/>
          </ac:spMkLst>
        </pc:spChg>
        <pc:graphicFrameChg chg="mod modGraphic">
          <ac:chgData name="Pierre, Kelley" userId="S::kelley.pierre@accenture.com::75eb27c0-8a09-47b9-b68e-9e48882da6a6" providerId="AD" clId="Web-{0027842F-C109-81BE-93CA-7BDD6BE0865B}" dt="2022-07-11T20:16:19.299" v="412"/>
          <ac:graphicFrameMkLst>
            <pc:docMk/>
            <pc:sldMk cId="4182820077" sldId="2134805208"/>
            <ac:graphicFrameMk id="8" creationId="{A0E88ACC-7BE3-F8F6-3762-ACF434134537}"/>
          </ac:graphicFrameMkLst>
        </pc:graphicFrameChg>
        <pc:picChg chg="mod">
          <ac:chgData name="Pierre, Kelley" userId="S::kelley.pierre@accenture.com::75eb27c0-8a09-47b9-b68e-9e48882da6a6" providerId="AD" clId="Web-{0027842F-C109-81BE-93CA-7BDD6BE0865B}" dt="2022-07-11T19:58:58.663" v="360" actId="1076"/>
          <ac:picMkLst>
            <pc:docMk/>
            <pc:sldMk cId="4182820077" sldId="2134805208"/>
            <ac:picMk id="13" creationId="{FDC61B82-0712-F914-B5A1-AEB0C02FF20A}"/>
          </ac:picMkLst>
        </pc:picChg>
      </pc:sldChg>
      <pc:sldChg chg="modSp add replId">
        <pc:chgData name="Pierre, Kelley" userId="S::kelley.pierre@accenture.com::75eb27c0-8a09-47b9-b68e-9e48882da6a6" providerId="AD" clId="Web-{0027842F-C109-81BE-93CA-7BDD6BE0865B}" dt="2022-07-11T20:17:19.348" v="416"/>
        <pc:sldMkLst>
          <pc:docMk/>
          <pc:sldMk cId="1968659463" sldId="2134805209"/>
        </pc:sldMkLst>
        <pc:spChg chg="mod">
          <ac:chgData name="Pierre, Kelley" userId="S::kelley.pierre@accenture.com::75eb27c0-8a09-47b9-b68e-9e48882da6a6" providerId="AD" clId="Web-{0027842F-C109-81BE-93CA-7BDD6BE0865B}" dt="2022-07-11T13:47:40.979" v="138" actId="20577"/>
          <ac:spMkLst>
            <pc:docMk/>
            <pc:sldMk cId="1968659463" sldId="2134805209"/>
            <ac:spMk id="9" creationId="{43AB19C9-D5C3-4F76-978A-A55F70609C4A}"/>
          </ac:spMkLst>
        </pc:spChg>
        <pc:graphicFrameChg chg="mod modGraphic">
          <ac:chgData name="Pierre, Kelley" userId="S::kelley.pierre@accenture.com::75eb27c0-8a09-47b9-b68e-9e48882da6a6" providerId="AD" clId="Web-{0027842F-C109-81BE-93CA-7BDD6BE0865B}" dt="2022-07-11T20:17:19.348" v="416"/>
          <ac:graphicFrameMkLst>
            <pc:docMk/>
            <pc:sldMk cId="1968659463" sldId="2134805209"/>
            <ac:graphicFrameMk id="8" creationId="{A0E88ACC-7BE3-F8F6-3762-ACF434134537}"/>
          </ac:graphicFrameMkLst>
        </pc:graphicFrameChg>
        <pc:picChg chg="mod">
          <ac:chgData name="Pierre, Kelley" userId="S::kelley.pierre@accenture.com::75eb27c0-8a09-47b9-b68e-9e48882da6a6" providerId="AD" clId="Web-{0027842F-C109-81BE-93CA-7BDD6BE0865B}" dt="2022-07-11T20:10:08.899" v="385" actId="14100"/>
          <ac:picMkLst>
            <pc:docMk/>
            <pc:sldMk cId="1968659463" sldId="2134805209"/>
            <ac:picMk id="13" creationId="{FDC61B82-0712-F914-B5A1-AEB0C02FF20A}"/>
          </ac:picMkLst>
        </pc:picChg>
      </pc:sldChg>
      <pc:sldChg chg="modSp add replId">
        <pc:chgData name="Pierre, Kelley" userId="S::kelley.pierre@accenture.com::75eb27c0-8a09-47b9-b68e-9e48882da6a6" providerId="AD" clId="Web-{0027842F-C109-81BE-93CA-7BDD6BE0865B}" dt="2022-07-11T20:16:50.159" v="414"/>
        <pc:sldMkLst>
          <pc:docMk/>
          <pc:sldMk cId="581199878" sldId="2134805210"/>
        </pc:sldMkLst>
        <pc:spChg chg="mod">
          <ac:chgData name="Pierre, Kelley" userId="S::kelley.pierre@accenture.com::75eb27c0-8a09-47b9-b68e-9e48882da6a6" providerId="AD" clId="Web-{0027842F-C109-81BE-93CA-7BDD6BE0865B}" dt="2022-07-11T19:04:25.359" v="321" actId="20577"/>
          <ac:spMkLst>
            <pc:docMk/>
            <pc:sldMk cId="581199878" sldId="2134805210"/>
            <ac:spMk id="9" creationId="{43AB19C9-D5C3-4F76-978A-A55F70609C4A}"/>
          </ac:spMkLst>
        </pc:spChg>
        <pc:graphicFrameChg chg="mod modGraphic">
          <ac:chgData name="Pierre, Kelley" userId="S::kelley.pierre@accenture.com::75eb27c0-8a09-47b9-b68e-9e48882da6a6" providerId="AD" clId="Web-{0027842F-C109-81BE-93CA-7BDD6BE0865B}" dt="2022-07-11T20:16:50.159" v="414"/>
          <ac:graphicFrameMkLst>
            <pc:docMk/>
            <pc:sldMk cId="581199878" sldId="2134805210"/>
            <ac:graphicFrameMk id="8" creationId="{A0E88ACC-7BE3-F8F6-3762-ACF434134537}"/>
          </ac:graphicFrameMkLst>
        </pc:graphicFrameChg>
        <pc:picChg chg="mod">
          <ac:chgData name="Pierre, Kelley" userId="S::kelley.pierre@accenture.com::75eb27c0-8a09-47b9-b68e-9e48882da6a6" providerId="AD" clId="Web-{0027842F-C109-81BE-93CA-7BDD6BE0865B}" dt="2022-07-11T19:59:56.540" v="367" actId="14100"/>
          <ac:picMkLst>
            <pc:docMk/>
            <pc:sldMk cId="581199878" sldId="2134805210"/>
            <ac:picMk id="13" creationId="{FDC61B82-0712-F914-B5A1-AEB0C02FF20A}"/>
          </ac:picMkLst>
        </pc:picChg>
      </pc:sldChg>
      <pc:sldChg chg="modSp add replId">
        <pc:chgData name="Pierre, Kelley" userId="S::kelley.pierre@accenture.com::75eb27c0-8a09-47b9-b68e-9e48882da6a6" providerId="AD" clId="Web-{0027842F-C109-81BE-93CA-7BDD6BE0865B}" dt="2022-07-11T20:17:05.300" v="415"/>
        <pc:sldMkLst>
          <pc:docMk/>
          <pc:sldMk cId="2957688605" sldId="2134805211"/>
        </pc:sldMkLst>
        <pc:graphicFrameChg chg="mod modGraphic">
          <ac:chgData name="Pierre, Kelley" userId="S::kelley.pierre@accenture.com::75eb27c0-8a09-47b9-b68e-9e48882da6a6" providerId="AD" clId="Web-{0027842F-C109-81BE-93CA-7BDD6BE0865B}" dt="2022-07-11T20:17:05.300" v="415"/>
          <ac:graphicFrameMkLst>
            <pc:docMk/>
            <pc:sldMk cId="2957688605" sldId="2134805211"/>
            <ac:graphicFrameMk id="8" creationId="{A0E88ACC-7BE3-F8F6-3762-ACF434134537}"/>
          </ac:graphicFrameMkLst>
        </pc:graphicFrameChg>
        <pc:picChg chg="mod">
          <ac:chgData name="Pierre, Kelley" userId="S::kelley.pierre@accenture.com::75eb27c0-8a09-47b9-b68e-9e48882da6a6" providerId="AD" clId="Web-{0027842F-C109-81BE-93CA-7BDD6BE0865B}" dt="2022-07-11T20:01:25.385" v="374" actId="14100"/>
          <ac:picMkLst>
            <pc:docMk/>
            <pc:sldMk cId="2957688605" sldId="2134805211"/>
            <ac:picMk id="13" creationId="{FDC61B82-0712-F914-B5A1-AEB0C02FF20A}"/>
          </ac:picMkLst>
        </pc:picChg>
      </pc:sldChg>
      <pc:sldChg chg="add ord">
        <pc:chgData name="Pierre, Kelley" userId="S::kelley.pierre@accenture.com::75eb27c0-8a09-47b9-b68e-9e48882da6a6" providerId="AD" clId="Web-{0027842F-C109-81BE-93CA-7BDD6BE0865B}" dt="2022-07-11T19:06:29.456" v="324"/>
        <pc:sldMkLst>
          <pc:docMk/>
          <pc:sldMk cId="452683512" sldId="2134805212"/>
        </pc:sldMkLst>
      </pc:sldChg>
      <pc:sldChg chg="modSp add replId">
        <pc:chgData name="Pierre, Kelley" userId="S::kelley.pierre@accenture.com::75eb27c0-8a09-47b9-b68e-9e48882da6a6" providerId="AD" clId="Web-{0027842F-C109-81BE-93CA-7BDD6BE0865B}" dt="2022-07-11T20:19:42.132" v="423" actId="14100"/>
        <pc:sldMkLst>
          <pc:docMk/>
          <pc:sldMk cId="2892209149" sldId="2134805214"/>
        </pc:sldMkLst>
        <pc:graphicFrameChg chg="modGraphic">
          <ac:chgData name="Pierre, Kelley" userId="S::kelley.pierre@accenture.com::75eb27c0-8a09-47b9-b68e-9e48882da6a6" providerId="AD" clId="Web-{0027842F-C109-81BE-93CA-7BDD6BE0865B}" dt="2022-07-11T20:18:08.677" v="421"/>
          <ac:graphicFrameMkLst>
            <pc:docMk/>
            <pc:sldMk cId="2892209149" sldId="2134805214"/>
            <ac:graphicFrameMk id="8" creationId="{A0E88ACC-7BE3-F8F6-3762-ACF434134537}"/>
          </ac:graphicFrameMkLst>
        </pc:graphicFrameChg>
        <pc:picChg chg="mod">
          <ac:chgData name="Pierre, Kelley" userId="S::kelley.pierre@accenture.com::75eb27c0-8a09-47b9-b68e-9e48882da6a6" providerId="AD" clId="Web-{0027842F-C109-81BE-93CA-7BDD6BE0865B}" dt="2022-07-11T20:19:42.132" v="423" actId="14100"/>
          <ac:picMkLst>
            <pc:docMk/>
            <pc:sldMk cId="2892209149" sldId="2134805214"/>
            <ac:picMk id="13" creationId="{FDC61B82-0712-F914-B5A1-AEB0C02FF20A}"/>
          </ac:picMkLst>
        </pc:picChg>
      </pc:sldChg>
      <pc:sldMasterChg chg="add addSldLayout">
        <pc:chgData name="Pierre, Kelley" userId="S::kelley.pierre@accenture.com::75eb27c0-8a09-47b9-b68e-9e48882da6a6" providerId="AD" clId="Web-{0027842F-C109-81BE-93CA-7BDD6BE0865B}" dt="2022-07-11T19:06:20.799" v="322"/>
        <pc:sldMasterMkLst>
          <pc:docMk/>
          <pc:sldMasterMk cId="603542785" sldId="2147483660"/>
        </pc:sldMasterMkLst>
        <pc:sldLayoutChg chg="add">
          <pc:chgData name="Pierre, Kelley" userId="S::kelley.pierre@accenture.com::75eb27c0-8a09-47b9-b68e-9e48882da6a6" providerId="AD" clId="Web-{0027842F-C109-81BE-93CA-7BDD6BE0865B}" dt="2022-07-11T19:06:20.799" v="322"/>
          <pc:sldLayoutMkLst>
            <pc:docMk/>
            <pc:sldMasterMk cId="603542785" sldId="2147483660"/>
            <pc:sldLayoutMk cId="692063531" sldId="2147483661"/>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032909627" sldId="2147483662"/>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881049225" sldId="2147483663"/>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85673006" sldId="2147483664"/>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925476264" sldId="2147483665"/>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99581662" sldId="2147483666"/>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627675108" sldId="2147483667"/>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387267451" sldId="2147483668"/>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220297943" sldId="2147483669"/>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4282229022" sldId="2147483670"/>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99463142" sldId="2147483671"/>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956341877" sldId="2147483672"/>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269040133" sldId="2147483673"/>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459701325" sldId="2147483674"/>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861923255" sldId="2147483675"/>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115121204" sldId="2147483676"/>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897442517" sldId="2147483677"/>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979374728" sldId="2147483678"/>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860956645" sldId="2147483679"/>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381465613" sldId="2147483680"/>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658817230" sldId="2147483681"/>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060923899" sldId="2147483682"/>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424400571" sldId="2147483683"/>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57498969" sldId="2147483684"/>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044722955" sldId="2147483685"/>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56378089" sldId="2147483686"/>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838323608" sldId="2147483687"/>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4087791403" sldId="2147483688"/>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253001720" sldId="2147483689"/>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921145928" sldId="2147483690"/>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528916050" sldId="2147483691"/>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604573175" sldId="2147483692"/>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911962727" sldId="2147483693"/>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4167992489" sldId="2147483694"/>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846213042" sldId="2147483695"/>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405575941" sldId="2147483696"/>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4275260015" sldId="2147483697"/>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605302661" sldId="2147483698"/>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2785108002" sldId="2147483699"/>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1887394740" sldId="2147483700"/>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850525731" sldId="2147483701"/>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3349098129" sldId="2147483702"/>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4212614516" sldId="2147483703"/>
          </pc:sldLayoutMkLst>
        </pc:sldLayoutChg>
        <pc:sldLayoutChg chg="add">
          <pc:chgData name="Pierre, Kelley" userId="S::kelley.pierre@accenture.com::75eb27c0-8a09-47b9-b68e-9e48882da6a6" providerId="AD" clId="Web-{0027842F-C109-81BE-93CA-7BDD6BE0865B}" dt="2022-07-11T19:06:20.799" v="322"/>
          <pc:sldLayoutMkLst>
            <pc:docMk/>
            <pc:sldMasterMk cId="603542785" sldId="2147483660"/>
            <pc:sldLayoutMk cId="588061660" sldId="2147483704"/>
          </pc:sldLayoutMkLst>
        </pc:sldLayoutChg>
      </pc:sldMasterChg>
      <pc:sldMasterChg chg="replId modSldLayout">
        <pc:chgData name="Pierre, Kelley" userId="S::kelley.pierre@accenture.com::75eb27c0-8a09-47b9-b68e-9e48882da6a6" providerId="AD" clId="Web-{0027842F-C109-81BE-93CA-7BDD6BE0865B}" dt="2022-07-11T19:06:20.799" v="322"/>
        <pc:sldMasterMkLst>
          <pc:docMk/>
          <pc:sldMasterMk cId="2084641022" sldId="2147483718"/>
        </pc:sldMasterMkLst>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2705286162" sldId="2147483719"/>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3722790687" sldId="2147483720"/>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1728295356" sldId="2147483721"/>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4120768158" sldId="2147483722"/>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2957498507" sldId="2147483723"/>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4209343618" sldId="2147483724"/>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3235730657" sldId="2147483725"/>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3635293589" sldId="2147483726"/>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3243142109" sldId="2147483727"/>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1235933587" sldId="2147483728"/>
          </pc:sldLayoutMkLst>
        </pc:sldLayoutChg>
        <pc:sldLayoutChg chg="replId">
          <pc:chgData name="Pierre, Kelley" userId="S::kelley.pierre@accenture.com::75eb27c0-8a09-47b9-b68e-9e48882da6a6" providerId="AD" clId="Web-{0027842F-C109-81BE-93CA-7BDD6BE0865B}" dt="2022-07-11T19:06:20.799" v="322"/>
          <pc:sldLayoutMkLst>
            <pc:docMk/>
            <pc:sldMasterMk cId="2084641022" sldId="2147483718"/>
            <pc:sldLayoutMk cId="861035738" sldId="2147483729"/>
          </pc:sldLayoutMkLst>
        </pc:sldLayoutChg>
      </pc:sldMasterChg>
      <pc:sldMasterChg chg="replId modSldLayout">
        <pc:chgData name="Pierre, Kelley" userId="S::kelley.pierre@accenture.com::75eb27c0-8a09-47b9-b68e-9e48882da6a6" providerId="AD" clId="Web-{0027842F-C109-81BE-93CA-7BDD6BE0865B}" dt="2022-07-11T19:06:20.799" v="322"/>
        <pc:sldMasterMkLst>
          <pc:docMk/>
          <pc:sldMasterMk cId="1656059929" sldId="2147483730"/>
        </pc:sldMasterMkLst>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3150932678" sldId="2147483731"/>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3314884693" sldId="2147483732"/>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238109931" sldId="2147483733"/>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868584282" sldId="2147483734"/>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207724586" sldId="2147483735"/>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976525773" sldId="2147483736"/>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221366904" sldId="2147483737"/>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803110936" sldId="2147483738"/>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79852378" sldId="2147483739"/>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3247687455" sldId="2147483740"/>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399875205" sldId="2147483741"/>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273451402" sldId="2147483742"/>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634454361" sldId="2147483743"/>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533333639" sldId="2147483744"/>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848287625" sldId="2147483745"/>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99344204" sldId="2147483746"/>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885463668" sldId="2147483747"/>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55966165" sldId="2147483748"/>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620052376" sldId="2147483749"/>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740681771" sldId="2147483750"/>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62973010" sldId="2147483751"/>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180730276" sldId="2147483752"/>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457677680" sldId="2147483753"/>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69321811" sldId="2147483754"/>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36504421" sldId="2147483755"/>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1761649340" sldId="2147483756"/>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3485783619" sldId="2147483757"/>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3908640131" sldId="2147483758"/>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022751045" sldId="2147483759"/>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2807267364" sldId="2147483760"/>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5644211" sldId="2147483761"/>
          </pc:sldLayoutMkLst>
        </pc:sldLayoutChg>
        <pc:sldLayoutChg chg="replId">
          <pc:chgData name="Pierre, Kelley" userId="S::kelley.pierre@accenture.com::75eb27c0-8a09-47b9-b68e-9e48882da6a6" providerId="AD" clId="Web-{0027842F-C109-81BE-93CA-7BDD6BE0865B}" dt="2022-07-11T19:06:20.799" v="322"/>
          <pc:sldLayoutMkLst>
            <pc:docMk/>
            <pc:sldMasterMk cId="1656059929" sldId="2147483730"/>
            <pc:sldLayoutMk cId="3966317971" sldId="2147483762"/>
          </pc:sldLayoutMkLst>
        </pc:sldLayoutChg>
      </pc:sldMasterChg>
    </pc:docChg>
  </pc:docChgLst>
  <pc:docChgLst>
    <pc:chgData name="Pierre, Kelley" userId="S::kelley.pierre@accenture.com::75eb27c0-8a09-47b9-b68e-9e48882da6a6" providerId="AD" clId="Web-{2744DEA7-FCBC-8E4A-B14B-6D52CD33FD55}"/>
    <pc:docChg chg="modSld">
      <pc:chgData name="Pierre, Kelley" userId="S::kelley.pierre@accenture.com::75eb27c0-8a09-47b9-b68e-9e48882da6a6" providerId="AD" clId="Web-{2744DEA7-FCBC-8E4A-B14B-6D52CD33FD55}" dt="2022-08-17T22:31:37.927" v="1" actId="14100"/>
      <pc:docMkLst>
        <pc:docMk/>
      </pc:docMkLst>
      <pc:sldChg chg="modSp">
        <pc:chgData name="Pierre, Kelley" userId="S::kelley.pierre@accenture.com::75eb27c0-8a09-47b9-b68e-9e48882da6a6" providerId="AD" clId="Web-{2744DEA7-FCBC-8E4A-B14B-6D52CD33FD55}" dt="2022-08-17T22:31:37.927" v="1" actId="14100"/>
        <pc:sldMkLst>
          <pc:docMk/>
          <pc:sldMk cId="452683512" sldId="2134805212"/>
        </pc:sldMkLst>
        <pc:picChg chg="mod">
          <ac:chgData name="Pierre, Kelley" userId="S::kelley.pierre@accenture.com::75eb27c0-8a09-47b9-b68e-9e48882da6a6" providerId="AD" clId="Web-{2744DEA7-FCBC-8E4A-B14B-6D52CD33FD55}" dt="2022-08-17T22:31:37.927" v="1" actId="14100"/>
          <ac:picMkLst>
            <pc:docMk/>
            <pc:sldMk cId="452683512" sldId="2134805212"/>
            <ac:picMk id="5" creationId="{584BCF50-C20A-4181-B5F4-8BA65113CD1B}"/>
          </ac:picMkLst>
        </pc:picChg>
      </pc:sldChg>
    </pc:docChg>
  </pc:docChgLst>
  <pc:docChgLst>
    <pc:chgData name="Okoye, Ogo" userId="S::ogochukwu.okoye@accenture.com::c42de8fc-8b09-4869-a5db-b98bbd7b16ce" providerId="AD" clId="Web-{1B362BBA-6974-2D51-A12C-3AACDE41FA0E}"/>
    <pc:docChg chg="modSld">
      <pc:chgData name="Okoye, Ogo" userId="S::ogochukwu.okoye@accenture.com::c42de8fc-8b09-4869-a5db-b98bbd7b16ce" providerId="AD" clId="Web-{1B362BBA-6974-2D51-A12C-3AACDE41FA0E}" dt="2022-07-08T16:15:52.114" v="119"/>
      <pc:docMkLst>
        <pc:docMk/>
      </pc:docMkLst>
      <pc:sldChg chg="modSp">
        <pc:chgData name="Okoye, Ogo" userId="S::ogochukwu.okoye@accenture.com::c42de8fc-8b09-4869-a5db-b98bbd7b16ce" providerId="AD" clId="Web-{1B362BBA-6974-2D51-A12C-3AACDE41FA0E}" dt="2022-07-08T16:15:52.114" v="119"/>
        <pc:sldMkLst>
          <pc:docMk/>
          <pc:sldMk cId="573631083" sldId="259"/>
        </pc:sldMkLst>
        <pc:graphicFrameChg chg="mod modGraphic">
          <ac:chgData name="Okoye, Ogo" userId="S::ogochukwu.okoye@accenture.com::c42de8fc-8b09-4869-a5db-b98bbd7b16ce" providerId="AD" clId="Web-{1B362BBA-6974-2D51-A12C-3AACDE41FA0E}" dt="2022-07-08T16:15:52.114" v="119"/>
          <ac:graphicFrameMkLst>
            <pc:docMk/>
            <pc:sldMk cId="573631083" sldId="259"/>
            <ac:graphicFrameMk id="7" creationId="{69CB2100-137C-4779-AB90-7427C4A33A74}"/>
          </ac:graphicFrameMkLst>
        </pc:graphicFrameChg>
      </pc:sldChg>
    </pc:docChg>
  </pc:docChgLst>
  <pc:docChgLst>
    <pc:chgData name="Pierre, Kelley" userId="S::kelley.pierre@accenture.com::75eb27c0-8a09-47b9-b68e-9e48882da6a6" providerId="AD" clId="Web-{EDB89A65-2C49-D8B3-0497-7AD97FFB6969}"/>
    <pc:docChg chg="delSld">
      <pc:chgData name="Pierre, Kelley" userId="S::kelley.pierre@accenture.com::75eb27c0-8a09-47b9-b68e-9e48882da6a6" providerId="AD" clId="Web-{EDB89A65-2C49-D8B3-0497-7AD97FFB6969}" dt="2022-07-15T21:25:53.950" v="9"/>
      <pc:docMkLst>
        <pc:docMk/>
      </pc:docMkLst>
      <pc:sldChg chg="del">
        <pc:chgData name="Pierre, Kelley" userId="S::kelley.pierre@accenture.com::75eb27c0-8a09-47b9-b68e-9e48882da6a6" providerId="AD" clId="Web-{EDB89A65-2C49-D8B3-0497-7AD97FFB6969}" dt="2022-07-15T21:25:53.840" v="7"/>
        <pc:sldMkLst>
          <pc:docMk/>
          <pc:sldMk cId="2530484429" sldId="260"/>
        </pc:sldMkLst>
      </pc:sldChg>
      <pc:sldChg chg="del">
        <pc:chgData name="Pierre, Kelley" userId="S::kelley.pierre@accenture.com::75eb27c0-8a09-47b9-b68e-9e48882da6a6" providerId="AD" clId="Web-{EDB89A65-2C49-D8B3-0497-7AD97FFB6969}" dt="2022-07-15T21:25:53.903" v="8"/>
        <pc:sldMkLst>
          <pc:docMk/>
          <pc:sldMk cId="4194863863" sldId="261"/>
        </pc:sldMkLst>
      </pc:sldChg>
      <pc:sldChg chg="del">
        <pc:chgData name="Pierre, Kelley" userId="S::kelley.pierre@accenture.com::75eb27c0-8a09-47b9-b68e-9e48882da6a6" providerId="AD" clId="Web-{EDB89A65-2C49-D8B3-0497-7AD97FFB6969}" dt="2022-07-15T21:25:53.950" v="9"/>
        <pc:sldMkLst>
          <pc:docMk/>
          <pc:sldMk cId="3668454863" sldId="2134805197"/>
        </pc:sldMkLst>
      </pc:sldChg>
      <pc:sldChg chg="del">
        <pc:chgData name="Pierre, Kelley" userId="S::kelley.pierre@accenture.com::75eb27c0-8a09-47b9-b68e-9e48882da6a6" providerId="AD" clId="Web-{EDB89A65-2C49-D8B3-0497-7AD97FFB6969}" dt="2022-07-15T21:25:53.809" v="6"/>
        <pc:sldMkLst>
          <pc:docMk/>
          <pc:sldMk cId="3955135530" sldId="2134805198"/>
        </pc:sldMkLst>
      </pc:sldChg>
      <pc:sldChg chg="del">
        <pc:chgData name="Pierre, Kelley" userId="S::kelley.pierre@accenture.com::75eb27c0-8a09-47b9-b68e-9e48882da6a6" providerId="AD" clId="Web-{EDB89A65-2C49-D8B3-0497-7AD97FFB6969}" dt="2022-07-15T21:25:53.747" v="5"/>
        <pc:sldMkLst>
          <pc:docMk/>
          <pc:sldMk cId="340157503" sldId="2134805199"/>
        </pc:sldMkLst>
      </pc:sldChg>
      <pc:sldChg chg="del">
        <pc:chgData name="Pierre, Kelley" userId="S::kelley.pierre@accenture.com::75eb27c0-8a09-47b9-b68e-9e48882da6a6" providerId="AD" clId="Web-{EDB89A65-2C49-D8B3-0497-7AD97FFB6969}" dt="2022-07-15T21:25:53.700" v="4"/>
        <pc:sldMkLst>
          <pc:docMk/>
          <pc:sldMk cId="622821397" sldId="2134805200"/>
        </pc:sldMkLst>
      </pc:sldChg>
      <pc:sldChg chg="del">
        <pc:chgData name="Pierre, Kelley" userId="S::kelley.pierre@accenture.com::75eb27c0-8a09-47b9-b68e-9e48882da6a6" providerId="AD" clId="Web-{EDB89A65-2C49-D8B3-0497-7AD97FFB6969}" dt="2022-07-15T21:25:53.637" v="3"/>
        <pc:sldMkLst>
          <pc:docMk/>
          <pc:sldMk cId="20025668" sldId="2134805201"/>
        </pc:sldMkLst>
      </pc:sldChg>
      <pc:sldChg chg="del">
        <pc:chgData name="Pierre, Kelley" userId="S::kelley.pierre@accenture.com::75eb27c0-8a09-47b9-b68e-9e48882da6a6" providerId="AD" clId="Web-{EDB89A65-2C49-D8B3-0497-7AD97FFB6969}" dt="2022-07-15T21:25:53.590" v="2"/>
        <pc:sldMkLst>
          <pc:docMk/>
          <pc:sldMk cId="3549426002" sldId="2134805202"/>
        </pc:sldMkLst>
      </pc:sldChg>
      <pc:sldChg chg="del">
        <pc:chgData name="Pierre, Kelley" userId="S::kelley.pierre@accenture.com::75eb27c0-8a09-47b9-b68e-9e48882da6a6" providerId="AD" clId="Web-{EDB89A65-2C49-D8B3-0497-7AD97FFB6969}" dt="2022-07-15T21:25:53.543" v="1"/>
        <pc:sldMkLst>
          <pc:docMk/>
          <pc:sldMk cId="2829868719" sldId="2134805203"/>
        </pc:sldMkLst>
      </pc:sldChg>
      <pc:sldChg chg="del">
        <pc:chgData name="Pierre, Kelley" userId="S::kelley.pierre@accenture.com::75eb27c0-8a09-47b9-b68e-9e48882da6a6" providerId="AD" clId="Web-{EDB89A65-2C49-D8B3-0497-7AD97FFB6969}" dt="2022-07-15T21:25:53.481" v="0"/>
        <pc:sldMkLst>
          <pc:docMk/>
          <pc:sldMk cId="3257276002" sldId="2134805213"/>
        </pc:sldMkLst>
      </pc:sldChg>
    </pc:docChg>
  </pc:docChgLst>
  <pc:docChgLst>
    <pc:chgData name="Noubissi, Biani" userId="4830a1e0-3251-4012-b5a4-b476f07537fc" providerId="ADAL" clId="{DE807383-163D-4C13-B660-97916278AA07}"/>
    <pc:docChg chg="undo custSel addSld delSld modSld sldOrd modMainMaster">
      <pc:chgData name="Noubissi, Biani" userId="4830a1e0-3251-4012-b5a4-b476f07537fc" providerId="ADAL" clId="{DE807383-163D-4C13-B660-97916278AA07}" dt="2022-07-05T18:17:14.349" v="605" actId="20577"/>
      <pc:docMkLst>
        <pc:docMk/>
      </pc:docMkLst>
      <pc:sldChg chg="modSp add del mod">
        <pc:chgData name="Noubissi, Biani" userId="4830a1e0-3251-4012-b5a4-b476f07537fc" providerId="ADAL" clId="{DE807383-163D-4C13-B660-97916278AA07}" dt="2022-06-30T18:14:02.900" v="143" actId="20577"/>
        <pc:sldMkLst>
          <pc:docMk/>
          <pc:sldMk cId="4194863863" sldId="261"/>
        </pc:sldMkLst>
        <pc:graphicFrameChg chg="mod modGraphic">
          <ac:chgData name="Noubissi, Biani" userId="4830a1e0-3251-4012-b5a4-b476f07537fc" providerId="ADAL" clId="{DE807383-163D-4C13-B660-97916278AA07}" dt="2022-06-30T18:14:02.900" v="143" actId="20577"/>
          <ac:graphicFrameMkLst>
            <pc:docMk/>
            <pc:sldMk cId="4194863863" sldId="261"/>
            <ac:graphicFrameMk id="7" creationId="{69CB2100-137C-4779-AB90-7427C4A33A74}"/>
          </ac:graphicFrameMkLst>
        </pc:graphicFrameChg>
      </pc:sldChg>
      <pc:sldChg chg="modSp">
        <pc:chgData name="Noubissi, Biani" userId="4830a1e0-3251-4012-b5a4-b476f07537fc" providerId="ADAL" clId="{DE807383-163D-4C13-B660-97916278AA07}" dt="2022-06-30T18:15:18.950" v="145"/>
        <pc:sldMkLst>
          <pc:docMk/>
          <pc:sldMk cId="127420792" sldId="264"/>
        </pc:sldMkLst>
        <pc:graphicFrameChg chg="mod">
          <ac:chgData name="Noubissi, Biani" userId="4830a1e0-3251-4012-b5a4-b476f07537fc" providerId="ADAL" clId="{DE807383-163D-4C13-B660-97916278AA07}" dt="2022-06-30T18:15:18.950" v="145"/>
          <ac:graphicFrameMkLst>
            <pc:docMk/>
            <pc:sldMk cId="127420792" sldId="264"/>
            <ac:graphicFrameMk id="7" creationId="{69CB2100-137C-4779-AB90-7427C4A33A74}"/>
          </ac:graphicFrameMkLst>
        </pc:graphicFrameChg>
      </pc:sldChg>
      <pc:sldChg chg="modSp mod">
        <pc:chgData name="Noubissi, Biani" userId="4830a1e0-3251-4012-b5a4-b476f07537fc" providerId="ADAL" clId="{DE807383-163D-4C13-B660-97916278AA07}" dt="2022-06-30T18:12:55.339" v="139" actId="20577"/>
        <pc:sldMkLst>
          <pc:docMk/>
          <pc:sldMk cId="4270235263" sldId="265"/>
        </pc:sldMkLst>
        <pc:graphicFrameChg chg="modGraphic">
          <ac:chgData name="Noubissi, Biani" userId="4830a1e0-3251-4012-b5a4-b476f07537fc" providerId="ADAL" clId="{DE807383-163D-4C13-B660-97916278AA07}" dt="2022-06-30T18:12:55.339" v="139" actId="20577"/>
          <ac:graphicFrameMkLst>
            <pc:docMk/>
            <pc:sldMk cId="4270235263" sldId="265"/>
            <ac:graphicFrameMk id="7" creationId="{69CB2100-137C-4779-AB90-7427C4A33A74}"/>
          </ac:graphicFrameMkLst>
        </pc:graphicFrameChg>
      </pc:sldChg>
      <pc:sldChg chg="modSp mod">
        <pc:chgData name="Noubissi, Biani" userId="4830a1e0-3251-4012-b5a4-b476f07537fc" providerId="ADAL" clId="{DE807383-163D-4C13-B660-97916278AA07}" dt="2022-06-30T16:55:01.688" v="103" actId="313"/>
        <pc:sldMkLst>
          <pc:docMk/>
          <pc:sldMk cId="1392176940" sldId="266"/>
        </pc:sldMkLst>
        <pc:graphicFrameChg chg="modGraphic">
          <ac:chgData name="Noubissi, Biani" userId="4830a1e0-3251-4012-b5a4-b476f07537fc" providerId="ADAL" clId="{DE807383-163D-4C13-B660-97916278AA07}" dt="2022-06-30T16:55:01.688" v="103" actId="313"/>
          <ac:graphicFrameMkLst>
            <pc:docMk/>
            <pc:sldMk cId="1392176940" sldId="266"/>
            <ac:graphicFrameMk id="7" creationId="{69CB2100-137C-4779-AB90-7427C4A33A74}"/>
          </ac:graphicFrameMkLst>
        </pc:graphicFrameChg>
      </pc:sldChg>
      <pc:sldChg chg="addSp modSp mod">
        <pc:chgData name="Noubissi, Biani" userId="4830a1e0-3251-4012-b5a4-b476f07537fc" providerId="ADAL" clId="{DE807383-163D-4C13-B660-97916278AA07}" dt="2022-06-30T18:34:21.855" v="303" actId="1076"/>
        <pc:sldMkLst>
          <pc:docMk/>
          <pc:sldMk cId="2854406187" sldId="267"/>
        </pc:sldMkLst>
        <pc:spChg chg="mod">
          <ac:chgData name="Noubissi, Biani" userId="4830a1e0-3251-4012-b5a4-b476f07537fc" providerId="ADAL" clId="{DE807383-163D-4C13-B660-97916278AA07}" dt="2022-06-30T18:29:43.954" v="288" actId="255"/>
          <ac:spMkLst>
            <pc:docMk/>
            <pc:sldMk cId="2854406187" sldId="267"/>
            <ac:spMk id="6" creationId="{68445E3D-5505-E8D6-01C9-C6FD92033FC5}"/>
          </ac:spMkLst>
        </pc:spChg>
        <pc:spChg chg="mod">
          <ac:chgData name="Noubissi, Biani" userId="4830a1e0-3251-4012-b5a4-b476f07537fc" providerId="ADAL" clId="{DE807383-163D-4C13-B660-97916278AA07}" dt="2022-06-30T18:30:11.395" v="296" actId="1076"/>
          <ac:spMkLst>
            <pc:docMk/>
            <pc:sldMk cId="2854406187" sldId="267"/>
            <ac:spMk id="14" creationId="{52F0C325-8A11-2F5D-867E-7417CE9F9C7E}"/>
          </ac:spMkLst>
        </pc:spChg>
        <pc:spChg chg="add mod">
          <ac:chgData name="Noubissi, Biani" userId="4830a1e0-3251-4012-b5a4-b476f07537fc" providerId="ADAL" clId="{DE807383-163D-4C13-B660-97916278AA07}" dt="2022-06-30T18:34:11.439" v="301" actId="1076"/>
          <ac:spMkLst>
            <pc:docMk/>
            <pc:sldMk cId="2854406187" sldId="267"/>
            <ac:spMk id="17" creationId="{E8792795-6047-B502-E2AE-3664479636C9}"/>
          </ac:spMkLst>
        </pc:spChg>
        <pc:spChg chg="add mod">
          <ac:chgData name="Noubissi, Biani" userId="4830a1e0-3251-4012-b5a4-b476f07537fc" providerId="ADAL" clId="{DE807383-163D-4C13-B660-97916278AA07}" dt="2022-06-30T18:34:21.855" v="303" actId="1076"/>
          <ac:spMkLst>
            <pc:docMk/>
            <pc:sldMk cId="2854406187" sldId="267"/>
            <ac:spMk id="19" creationId="{144EEAC1-868F-1FA2-B594-BA0C796E3F83}"/>
          </ac:spMkLst>
        </pc:spChg>
        <pc:spChg chg="add mod">
          <ac:chgData name="Noubissi, Biani" userId="4830a1e0-3251-4012-b5a4-b476f07537fc" providerId="ADAL" clId="{DE807383-163D-4C13-B660-97916278AA07}" dt="2022-06-30T18:26:25.361" v="262" actId="1076"/>
          <ac:spMkLst>
            <pc:docMk/>
            <pc:sldMk cId="2854406187" sldId="267"/>
            <ac:spMk id="21" creationId="{7648A35F-3905-A447-774F-DAAADD279BB1}"/>
          </ac:spMkLst>
        </pc:spChg>
        <pc:spChg chg="add mod">
          <ac:chgData name="Noubissi, Biani" userId="4830a1e0-3251-4012-b5a4-b476f07537fc" providerId="ADAL" clId="{DE807383-163D-4C13-B660-97916278AA07}" dt="2022-06-30T18:34:17.889" v="302" actId="1076"/>
          <ac:spMkLst>
            <pc:docMk/>
            <pc:sldMk cId="2854406187" sldId="267"/>
            <ac:spMk id="23" creationId="{E8A422A1-81C9-1834-5E5B-C21C08FBBBF5}"/>
          </ac:spMkLst>
        </pc:spChg>
        <pc:grpChg chg="add mod">
          <ac:chgData name="Noubissi, Biani" userId="4830a1e0-3251-4012-b5a4-b476f07537fc" providerId="ADAL" clId="{DE807383-163D-4C13-B660-97916278AA07}" dt="2022-06-30T18:20:25.360" v="223" actId="1076"/>
          <ac:grpSpMkLst>
            <pc:docMk/>
            <pc:sldMk cId="2854406187" sldId="267"/>
            <ac:grpSpMk id="24" creationId="{C47CBEE5-8A0D-1994-61AE-74C3D1ABE124}"/>
          </ac:grpSpMkLst>
        </pc:grpChg>
        <pc:grpChg chg="add mod">
          <ac:chgData name="Noubissi, Biani" userId="4830a1e0-3251-4012-b5a4-b476f07537fc" providerId="ADAL" clId="{DE807383-163D-4C13-B660-97916278AA07}" dt="2022-06-30T18:24:57.399" v="260" actId="164"/>
          <ac:grpSpMkLst>
            <pc:docMk/>
            <pc:sldMk cId="2854406187" sldId="267"/>
            <ac:grpSpMk id="31" creationId="{0D5A6DCD-B972-1739-4303-440AAB75E56F}"/>
          </ac:grpSpMkLst>
        </pc:grpChg>
        <pc:grpChg chg="add mod">
          <ac:chgData name="Noubissi, Biani" userId="4830a1e0-3251-4012-b5a4-b476f07537fc" providerId="ADAL" clId="{DE807383-163D-4C13-B660-97916278AA07}" dt="2022-06-30T18:25:01.517" v="261" actId="164"/>
          <ac:grpSpMkLst>
            <pc:docMk/>
            <pc:sldMk cId="2854406187" sldId="267"/>
            <ac:grpSpMk id="32" creationId="{AF1FA191-9024-E058-CEDB-D1B6D54DA7EC}"/>
          </ac:grpSpMkLst>
        </pc:grpChg>
        <pc:picChg chg="add mod">
          <ac:chgData name="Noubissi, Biani" userId="4830a1e0-3251-4012-b5a4-b476f07537fc" providerId="ADAL" clId="{DE807383-163D-4C13-B660-97916278AA07}" dt="2022-06-30T18:28:04.008" v="272" actId="1582"/>
          <ac:picMkLst>
            <pc:docMk/>
            <pc:sldMk cId="2854406187" sldId="267"/>
            <ac:picMk id="12" creationId="{5EA9F462-AA62-5756-C31D-E46DD5D7CF36}"/>
          </ac:picMkLst>
        </pc:picChg>
        <pc:picChg chg="add mod">
          <ac:chgData name="Noubissi, Biani" userId="4830a1e0-3251-4012-b5a4-b476f07537fc" providerId="ADAL" clId="{DE807383-163D-4C13-B660-97916278AA07}" dt="2022-06-30T18:28:34.147" v="278" actId="1076"/>
          <ac:picMkLst>
            <pc:docMk/>
            <pc:sldMk cId="2854406187" sldId="267"/>
            <ac:picMk id="26" creationId="{002FF1D5-D71C-D579-205D-3ECC47DD9E27}"/>
          </ac:picMkLst>
        </pc:picChg>
        <pc:picChg chg="add mod">
          <ac:chgData name="Noubissi, Biani" userId="4830a1e0-3251-4012-b5a4-b476f07537fc" providerId="ADAL" clId="{DE807383-163D-4C13-B660-97916278AA07}" dt="2022-06-30T18:28:54.484" v="282" actId="1076"/>
          <ac:picMkLst>
            <pc:docMk/>
            <pc:sldMk cId="2854406187" sldId="267"/>
            <ac:picMk id="28" creationId="{26BCE02F-0DBE-EF2C-96B9-F37FE5F5C878}"/>
          </ac:picMkLst>
        </pc:picChg>
        <pc:picChg chg="add mod">
          <ac:chgData name="Noubissi, Biani" userId="4830a1e0-3251-4012-b5a4-b476f07537fc" providerId="ADAL" clId="{DE807383-163D-4C13-B660-97916278AA07}" dt="2022-06-30T18:26:25.361" v="262" actId="1076"/>
          <ac:picMkLst>
            <pc:docMk/>
            <pc:sldMk cId="2854406187" sldId="267"/>
            <ac:picMk id="30" creationId="{6E464430-D686-7CD2-58AB-8D065669666B}"/>
          </ac:picMkLst>
        </pc:picChg>
        <pc:picChg chg="add mod">
          <ac:chgData name="Noubissi, Biani" userId="4830a1e0-3251-4012-b5a4-b476f07537fc" providerId="ADAL" clId="{DE807383-163D-4C13-B660-97916278AA07}" dt="2022-06-30T18:27:48.493" v="268" actId="1582"/>
          <ac:picMkLst>
            <pc:docMk/>
            <pc:sldMk cId="2854406187" sldId="267"/>
            <ac:picMk id="34" creationId="{190AEAC9-8CA7-4384-BBE3-6BE677A009B2}"/>
          </ac:picMkLst>
        </pc:picChg>
      </pc:sldChg>
      <pc:sldChg chg="modSp mod">
        <pc:chgData name="Noubissi, Biani" userId="4830a1e0-3251-4012-b5a4-b476f07537fc" providerId="ADAL" clId="{DE807383-163D-4C13-B660-97916278AA07}" dt="2022-06-30T16:55:50.615" v="119" actId="20577"/>
        <pc:sldMkLst>
          <pc:docMk/>
          <pc:sldMk cId="673640267" sldId="268"/>
        </pc:sldMkLst>
        <pc:graphicFrameChg chg="mod modGraphic">
          <ac:chgData name="Noubissi, Biani" userId="4830a1e0-3251-4012-b5a4-b476f07537fc" providerId="ADAL" clId="{DE807383-163D-4C13-B660-97916278AA07}" dt="2022-06-30T16:55:50.615" v="119" actId="20577"/>
          <ac:graphicFrameMkLst>
            <pc:docMk/>
            <pc:sldMk cId="673640267" sldId="268"/>
            <ac:graphicFrameMk id="7" creationId="{69CB2100-137C-4779-AB90-7427C4A33A74}"/>
          </ac:graphicFrameMkLst>
        </pc:graphicFrameChg>
      </pc:sldChg>
      <pc:sldChg chg="modSp mod">
        <pc:chgData name="Noubissi, Biani" userId="4830a1e0-3251-4012-b5a4-b476f07537fc" providerId="ADAL" clId="{DE807383-163D-4C13-B660-97916278AA07}" dt="2022-06-30T16:51:28.162" v="16" actId="20577"/>
        <pc:sldMkLst>
          <pc:docMk/>
          <pc:sldMk cId="3172122246" sldId="2134805191"/>
        </pc:sldMkLst>
        <pc:spChg chg="mod">
          <ac:chgData name="Noubissi, Biani" userId="4830a1e0-3251-4012-b5a4-b476f07537fc" providerId="ADAL" clId="{DE807383-163D-4C13-B660-97916278AA07}" dt="2022-06-30T16:51:28.162" v="16" actId="20577"/>
          <ac:spMkLst>
            <pc:docMk/>
            <pc:sldMk cId="3172122246" sldId="2134805191"/>
            <ac:spMk id="3" creationId="{EDD40B30-F43F-4A0C-84EF-A99394880C37}"/>
          </ac:spMkLst>
        </pc:spChg>
      </pc:sldChg>
      <pc:sldChg chg="addSp modSp mod">
        <pc:chgData name="Noubissi, Biani" userId="4830a1e0-3251-4012-b5a4-b476f07537fc" providerId="ADAL" clId="{DE807383-163D-4C13-B660-97916278AA07}" dt="2022-07-05T18:17:14.349" v="605" actId="20577"/>
        <pc:sldMkLst>
          <pc:docMk/>
          <pc:sldMk cId="3786903442" sldId="2134805192"/>
        </pc:sldMkLst>
        <pc:spChg chg="mod">
          <ac:chgData name="Noubissi, Biani" userId="4830a1e0-3251-4012-b5a4-b476f07537fc" providerId="ADAL" clId="{DE807383-163D-4C13-B660-97916278AA07}" dt="2022-07-05T18:14:48.809" v="320" actId="20577"/>
          <ac:spMkLst>
            <pc:docMk/>
            <pc:sldMk cId="3786903442" sldId="2134805192"/>
            <ac:spMk id="6" creationId="{5860B0B2-39E5-A2A9-DDBC-29E5957985E7}"/>
          </ac:spMkLst>
        </pc:spChg>
        <pc:spChg chg="add mod">
          <ac:chgData name="Noubissi, Biani" userId="4830a1e0-3251-4012-b5a4-b476f07537fc" providerId="ADAL" clId="{DE807383-163D-4C13-B660-97916278AA07}" dt="2022-07-05T18:17:14.349" v="605" actId="20577"/>
          <ac:spMkLst>
            <pc:docMk/>
            <pc:sldMk cId="3786903442" sldId="2134805192"/>
            <ac:spMk id="7" creationId="{C43B965F-1306-F650-10E9-9036A8BD354F}"/>
          </ac:spMkLst>
        </pc:spChg>
      </pc:sldChg>
      <pc:sldChg chg="add ord">
        <pc:chgData name="Noubissi, Biani" userId="4830a1e0-3251-4012-b5a4-b476f07537fc" providerId="ADAL" clId="{DE807383-163D-4C13-B660-97916278AA07}" dt="2022-07-05T18:14:44.857" v="310"/>
        <pc:sldMkLst>
          <pc:docMk/>
          <pc:sldMk cId="625372562" sldId="2134805193"/>
        </pc:sldMkLst>
      </pc:sldChg>
      <pc:sldChg chg="new del">
        <pc:chgData name="Noubissi, Biani" userId="4830a1e0-3251-4012-b5a4-b476f07537fc" providerId="ADAL" clId="{DE807383-163D-4C13-B660-97916278AA07}" dt="2022-07-05T18:14:41.427" v="307" actId="47"/>
        <pc:sldMkLst>
          <pc:docMk/>
          <pc:sldMk cId="2178640256" sldId="2134805193"/>
        </pc:sldMkLst>
      </pc:sldChg>
      <pc:sldChg chg="new del">
        <pc:chgData name="Noubissi, Biani" userId="4830a1e0-3251-4012-b5a4-b476f07537fc" providerId="ADAL" clId="{DE807383-163D-4C13-B660-97916278AA07}" dt="2022-07-05T18:14:36.725" v="305" actId="47"/>
        <pc:sldMkLst>
          <pc:docMk/>
          <pc:sldMk cId="2398541081" sldId="2134805193"/>
        </pc:sldMkLst>
      </pc:sldChg>
      <pc:sldMasterChg chg="modSldLayout">
        <pc:chgData name="Noubissi, Biani" userId="4830a1e0-3251-4012-b5a4-b476f07537fc" providerId="ADAL" clId="{DE807383-163D-4C13-B660-97916278AA07}" dt="2022-06-30T16:55:30.989" v="117" actId="20577"/>
        <pc:sldMasterMkLst>
          <pc:docMk/>
          <pc:sldMasterMk cId="2084641022" sldId="2147483718"/>
        </pc:sldMasterMkLst>
        <pc:sldLayoutChg chg="modSp mod">
          <pc:chgData name="Noubissi, Biani" userId="4830a1e0-3251-4012-b5a4-b476f07537fc" providerId="ADAL" clId="{DE807383-163D-4C13-B660-97916278AA07}" dt="2022-06-30T16:55:30.989" v="117" actId="20577"/>
          <pc:sldLayoutMkLst>
            <pc:docMk/>
            <pc:sldMasterMk cId="2084641022" sldId="2147483718"/>
            <pc:sldLayoutMk cId="3722790687" sldId="2147483720"/>
          </pc:sldLayoutMkLst>
          <pc:spChg chg="mod">
            <ac:chgData name="Noubissi, Biani" userId="4830a1e0-3251-4012-b5a4-b476f07537fc" providerId="ADAL" clId="{DE807383-163D-4C13-B660-97916278AA07}" dt="2022-06-30T16:55:30.989" v="117" actId="20577"/>
            <ac:spMkLst>
              <pc:docMk/>
              <pc:sldMasterMk cId="2084641022" sldId="2147483718"/>
              <pc:sldLayoutMk cId="3722790687" sldId="2147483720"/>
              <ac:spMk id="11" creationId="{C3BC77BF-00B9-4536-889A-A2DBE104F444}"/>
            </ac:spMkLst>
          </pc:spChg>
        </pc:sldLayoutChg>
      </pc:sldMasterChg>
    </pc:docChg>
  </pc:docChgLst>
  <pc:docChgLst>
    <pc:chgData name="Pierre, Kelley" userId="S::kelley.pierre@accenture.com::75eb27c0-8a09-47b9-b68e-9e48882da6a6" providerId="AD" clId="Web-{0305353D-73B5-74B9-0B94-184F8F0753FA}"/>
    <pc:docChg chg="modSld">
      <pc:chgData name="Pierre, Kelley" userId="S::kelley.pierre@accenture.com::75eb27c0-8a09-47b9-b68e-9e48882da6a6" providerId="AD" clId="Web-{0305353D-73B5-74B9-0B94-184F8F0753FA}" dt="2022-09-02T20:02:30.978" v="1" actId="20577"/>
      <pc:docMkLst>
        <pc:docMk/>
      </pc:docMkLst>
      <pc:sldChg chg="modSp">
        <pc:chgData name="Pierre, Kelley" userId="S::kelley.pierre@accenture.com::75eb27c0-8a09-47b9-b68e-9e48882da6a6" providerId="AD" clId="Web-{0305353D-73B5-74B9-0B94-184F8F0753FA}" dt="2022-09-02T19:56:11.015" v="0" actId="1076"/>
        <pc:sldMkLst>
          <pc:docMk/>
          <pc:sldMk cId="4254675854" sldId="2134805204"/>
        </pc:sldMkLst>
        <pc:spChg chg="mod">
          <ac:chgData name="Pierre, Kelley" userId="S::kelley.pierre@accenture.com::75eb27c0-8a09-47b9-b68e-9e48882da6a6" providerId="AD" clId="Web-{0305353D-73B5-74B9-0B94-184F8F0753FA}" dt="2022-09-02T19:56:11.015" v="0" actId="1076"/>
          <ac:spMkLst>
            <pc:docMk/>
            <pc:sldMk cId="4254675854" sldId="2134805204"/>
            <ac:spMk id="9" creationId="{43AB19C9-D5C3-4F76-978A-A55F70609C4A}"/>
          </ac:spMkLst>
        </pc:spChg>
      </pc:sldChg>
      <pc:sldChg chg="modSp">
        <pc:chgData name="Pierre, Kelley" userId="S::kelley.pierre@accenture.com::75eb27c0-8a09-47b9-b68e-9e48882da6a6" providerId="AD" clId="Web-{0305353D-73B5-74B9-0B94-184F8F0753FA}" dt="2022-09-02T20:02:30.978" v="1" actId="20577"/>
        <pc:sldMkLst>
          <pc:docMk/>
          <pc:sldMk cId="2432513406" sldId="2134805206"/>
        </pc:sldMkLst>
        <pc:spChg chg="mod">
          <ac:chgData name="Pierre, Kelley" userId="S::kelley.pierre@accenture.com::75eb27c0-8a09-47b9-b68e-9e48882da6a6" providerId="AD" clId="Web-{0305353D-73B5-74B9-0B94-184F8F0753FA}" dt="2022-09-02T20:02:30.978" v="1" actId="20577"/>
          <ac:spMkLst>
            <pc:docMk/>
            <pc:sldMk cId="2432513406" sldId="2134805206"/>
            <ac:spMk id="9" creationId="{43AB19C9-D5C3-4F76-978A-A55F70609C4A}"/>
          </ac:spMkLst>
        </pc:spChg>
      </pc:sldChg>
    </pc:docChg>
  </pc:docChgLst>
  <pc:docChgLst>
    <pc:chgData name="Pierre, Kelley" userId="S::kelley.pierre@accenture.com::75eb27c0-8a09-47b9-b68e-9e48882da6a6" providerId="AD" clId="Web-{8485A848-CED7-B1F4-137B-6911EB0AD8E6}"/>
    <pc:docChg chg="addSld delSld modSld sldOrd">
      <pc:chgData name="Pierre, Kelley" userId="S::kelley.pierre@accenture.com::75eb27c0-8a09-47b9-b68e-9e48882da6a6" providerId="AD" clId="Web-{8485A848-CED7-B1F4-137B-6911EB0AD8E6}" dt="2022-07-09T02:17:57.452" v="923" actId="20577"/>
      <pc:docMkLst>
        <pc:docMk/>
      </pc:docMkLst>
      <pc:sldChg chg="addSp modSp del">
        <pc:chgData name="Pierre, Kelley" userId="S::kelley.pierre@accenture.com::75eb27c0-8a09-47b9-b68e-9e48882da6a6" providerId="AD" clId="Web-{8485A848-CED7-B1F4-137B-6911EB0AD8E6}" dt="2022-07-08T21:52:01.342" v="875"/>
        <pc:sldMkLst>
          <pc:docMk/>
          <pc:sldMk cId="573631083" sldId="259"/>
        </pc:sldMkLst>
        <pc:spChg chg="add mod">
          <ac:chgData name="Pierre, Kelley" userId="S::kelley.pierre@accenture.com::75eb27c0-8a09-47b9-b68e-9e48882da6a6" providerId="AD" clId="Web-{8485A848-CED7-B1F4-137B-6911EB0AD8E6}" dt="2022-07-08T16:18:19.303" v="1"/>
          <ac:spMkLst>
            <pc:docMk/>
            <pc:sldMk cId="573631083" sldId="259"/>
            <ac:spMk id="2" creationId="{6EDCF42D-C9A5-A5C0-433C-F9FA42865C1C}"/>
          </ac:spMkLst>
        </pc:spChg>
        <pc:spChg chg="add mod">
          <ac:chgData name="Pierre, Kelley" userId="S::kelley.pierre@accenture.com::75eb27c0-8a09-47b9-b68e-9e48882da6a6" providerId="AD" clId="Web-{8485A848-CED7-B1F4-137B-6911EB0AD8E6}" dt="2022-07-08T16:18:23.537" v="3"/>
          <ac:spMkLst>
            <pc:docMk/>
            <pc:sldMk cId="573631083" sldId="259"/>
            <ac:spMk id="3" creationId="{3BD33FFB-41AF-643D-B11C-244322B2DA1E}"/>
          </ac:spMkLst>
        </pc:spChg>
      </pc:sldChg>
      <pc:sldChg chg="addSp delSp modSp">
        <pc:chgData name="Pierre, Kelley" userId="S::kelley.pierre@accenture.com::75eb27c0-8a09-47b9-b68e-9e48882da6a6" providerId="AD" clId="Web-{8485A848-CED7-B1F4-137B-6911EB0AD8E6}" dt="2022-07-08T22:09:54.789" v="898" actId="20577"/>
        <pc:sldMkLst>
          <pc:docMk/>
          <pc:sldMk cId="2530484429" sldId="260"/>
        </pc:sldMkLst>
        <pc:spChg chg="mod">
          <ac:chgData name="Pierre, Kelley" userId="S::kelley.pierre@accenture.com::75eb27c0-8a09-47b9-b68e-9e48882da6a6" providerId="AD" clId="Web-{8485A848-CED7-B1F4-137B-6911EB0AD8E6}" dt="2022-07-08T22:09:54.789" v="898" actId="20577"/>
          <ac:spMkLst>
            <pc:docMk/>
            <pc:sldMk cId="2530484429" sldId="260"/>
            <ac:spMk id="9" creationId="{43AB19C9-D5C3-4F76-978A-A55F70609C4A}"/>
          </ac:spMkLst>
        </pc:spChg>
        <pc:graphicFrameChg chg="add mod modGraphic">
          <ac:chgData name="Pierre, Kelley" userId="S::kelley.pierre@accenture.com::75eb27c0-8a09-47b9-b68e-9e48882da6a6" providerId="AD" clId="Web-{8485A848-CED7-B1F4-137B-6911EB0AD8E6}" dt="2022-07-08T18:54:10.852" v="307"/>
          <ac:graphicFrameMkLst>
            <pc:docMk/>
            <pc:sldMk cId="2530484429" sldId="260"/>
            <ac:graphicFrameMk id="4" creationId="{75267EDC-709A-0A37-8EF4-86F3A93FCA9D}"/>
          </ac:graphicFrameMkLst>
        </pc:graphicFrameChg>
        <pc:graphicFrameChg chg="del mod modGraphic">
          <ac:chgData name="Pierre, Kelley" userId="S::kelley.pierre@accenture.com::75eb27c0-8a09-47b9-b68e-9e48882da6a6" providerId="AD" clId="Web-{8485A848-CED7-B1F4-137B-6911EB0AD8E6}" dt="2022-07-08T18:54:28.571" v="308"/>
          <ac:graphicFrameMkLst>
            <pc:docMk/>
            <pc:sldMk cId="2530484429" sldId="260"/>
            <ac:graphicFrameMk id="12" creationId="{32EEC047-4764-641D-B52B-8E10BC0C7066}"/>
          </ac:graphicFrameMkLst>
        </pc:graphicFrameChg>
        <pc:picChg chg="add mod">
          <ac:chgData name="Pierre, Kelley" userId="S::kelley.pierre@accenture.com::75eb27c0-8a09-47b9-b68e-9e48882da6a6" providerId="AD" clId="Web-{8485A848-CED7-B1F4-137B-6911EB0AD8E6}" dt="2022-07-08T22:05:55.280" v="888" actId="14100"/>
          <ac:picMkLst>
            <pc:docMk/>
            <pc:sldMk cId="2530484429" sldId="260"/>
            <ac:picMk id="2" creationId="{E57537BC-5A50-5280-BB22-F07F39C1AFB0}"/>
          </ac:picMkLst>
        </pc:picChg>
        <pc:picChg chg="del">
          <ac:chgData name="Pierre, Kelley" userId="S::kelley.pierre@accenture.com::75eb27c0-8a09-47b9-b68e-9e48882da6a6" providerId="AD" clId="Web-{8485A848-CED7-B1F4-137B-6911EB0AD8E6}" dt="2022-07-08T18:42:42.146" v="133"/>
          <ac:picMkLst>
            <pc:docMk/>
            <pc:sldMk cId="2530484429" sldId="260"/>
            <ac:picMk id="6" creationId="{495B492B-24E2-DBCE-4C20-62CD3B0F5E56}"/>
          </ac:picMkLst>
        </pc:picChg>
        <pc:picChg chg="del">
          <ac:chgData name="Pierre, Kelley" userId="S::kelley.pierre@accenture.com::75eb27c0-8a09-47b9-b68e-9e48882da6a6" providerId="AD" clId="Web-{8485A848-CED7-B1F4-137B-6911EB0AD8E6}" dt="2022-07-08T18:42:39.021" v="132"/>
          <ac:picMkLst>
            <pc:docMk/>
            <pc:sldMk cId="2530484429" sldId="260"/>
            <ac:picMk id="7" creationId="{44175ECA-5F42-4C0F-028C-1CF99CF34B3E}"/>
          </ac:picMkLst>
        </pc:picChg>
        <pc:picChg chg="add">
          <ac:chgData name="Pierre, Kelley" userId="S::kelley.pierre@accenture.com::75eb27c0-8a09-47b9-b68e-9e48882da6a6" providerId="AD" clId="Web-{8485A848-CED7-B1F4-137B-6911EB0AD8E6}" dt="2022-07-08T18:54:43.322" v="309"/>
          <ac:picMkLst>
            <pc:docMk/>
            <pc:sldMk cId="2530484429" sldId="260"/>
            <ac:picMk id="8" creationId="{E212EA05-206D-38F6-1714-8FFE89080D8E}"/>
          </ac:picMkLst>
        </pc:picChg>
        <pc:picChg chg="del">
          <ac:chgData name="Pierre, Kelley" userId="S::kelley.pierre@accenture.com::75eb27c0-8a09-47b9-b68e-9e48882da6a6" providerId="AD" clId="Web-{8485A848-CED7-B1F4-137B-6911EB0AD8E6}" dt="2022-07-08T18:42:48.115" v="134"/>
          <ac:picMkLst>
            <pc:docMk/>
            <pc:sldMk cId="2530484429" sldId="260"/>
            <ac:picMk id="11" creationId="{0EC70DC0-FAE6-9BE9-F38C-3F0EFD8D3DB6}"/>
          </ac:picMkLst>
        </pc:picChg>
        <pc:picChg chg="add">
          <ac:chgData name="Pierre, Kelley" userId="S::kelley.pierre@accenture.com::75eb27c0-8a09-47b9-b68e-9e48882da6a6" providerId="AD" clId="Web-{8485A848-CED7-B1F4-137B-6911EB0AD8E6}" dt="2022-07-08T18:54:54.244" v="310"/>
          <ac:picMkLst>
            <pc:docMk/>
            <pc:sldMk cId="2530484429" sldId="260"/>
            <ac:picMk id="13" creationId="{0A6484EA-BD5F-21A2-4C44-588E6664B6B8}"/>
          </ac:picMkLst>
        </pc:picChg>
        <pc:picChg chg="add mod">
          <ac:chgData name="Pierre, Kelley" userId="S::kelley.pierre@accenture.com::75eb27c0-8a09-47b9-b68e-9e48882da6a6" providerId="AD" clId="Web-{8485A848-CED7-B1F4-137B-6911EB0AD8E6}" dt="2022-07-08T18:55:37.011" v="314" actId="1076"/>
          <ac:picMkLst>
            <pc:docMk/>
            <pc:sldMk cId="2530484429" sldId="260"/>
            <ac:picMk id="14" creationId="{D3C1B7E6-63A8-EC8D-0E50-4E03F7B20718}"/>
          </ac:picMkLst>
        </pc:picChg>
        <pc:picChg chg="del">
          <ac:chgData name="Pierre, Kelley" userId="S::kelley.pierre@accenture.com::75eb27c0-8a09-47b9-b68e-9e48882da6a6" providerId="AD" clId="Web-{8485A848-CED7-B1F4-137B-6911EB0AD8E6}" dt="2022-07-08T18:42:51.818" v="135"/>
          <ac:picMkLst>
            <pc:docMk/>
            <pc:sldMk cId="2530484429" sldId="260"/>
            <ac:picMk id="15" creationId="{9AAECF3F-1807-BE6E-5C90-D1C365FC2510}"/>
          </ac:picMkLst>
        </pc:picChg>
        <pc:picChg chg="del">
          <ac:chgData name="Pierre, Kelley" userId="S::kelley.pierre@accenture.com::75eb27c0-8a09-47b9-b68e-9e48882da6a6" providerId="AD" clId="Web-{8485A848-CED7-B1F4-137B-6911EB0AD8E6}" dt="2022-07-08T18:42:54.381" v="136"/>
          <ac:picMkLst>
            <pc:docMk/>
            <pc:sldMk cId="2530484429" sldId="260"/>
            <ac:picMk id="17" creationId="{ED4115B1-84E4-2663-8E70-73DFF445146D}"/>
          </ac:picMkLst>
        </pc:picChg>
        <pc:picChg chg="del">
          <ac:chgData name="Pierre, Kelley" userId="S::kelley.pierre@accenture.com::75eb27c0-8a09-47b9-b68e-9e48882da6a6" providerId="AD" clId="Web-{8485A848-CED7-B1F4-137B-6911EB0AD8E6}" dt="2022-07-08T18:42:57.240" v="137"/>
          <ac:picMkLst>
            <pc:docMk/>
            <pc:sldMk cId="2530484429" sldId="260"/>
            <ac:picMk id="19" creationId="{1B723946-5904-CF81-DD0B-C5265695A2D1}"/>
          </ac:picMkLst>
        </pc:picChg>
      </pc:sldChg>
      <pc:sldChg chg="addSp delSp modSp ord">
        <pc:chgData name="Pierre, Kelley" userId="S::kelley.pierre@accenture.com::75eb27c0-8a09-47b9-b68e-9e48882da6a6" providerId="AD" clId="Web-{8485A848-CED7-B1F4-137B-6911EB0AD8E6}" dt="2022-07-09T00:11:42.266" v="906"/>
        <pc:sldMkLst>
          <pc:docMk/>
          <pc:sldMk cId="4194863863" sldId="261"/>
        </pc:sldMkLst>
        <pc:graphicFrameChg chg="del mod modGraphic">
          <ac:chgData name="Pierre, Kelley" userId="S::kelley.pierre@accenture.com::75eb27c0-8a09-47b9-b68e-9e48882da6a6" providerId="AD" clId="Web-{8485A848-CED7-B1F4-137B-6911EB0AD8E6}" dt="2022-07-08T19:17:10.829" v="378"/>
          <ac:graphicFrameMkLst>
            <pc:docMk/>
            <pc:sldMk cId="4194863863" sldId="261"/>
            <ac:graphicFrameMk id="7" creationId="{69CB2100-137C-4779-AB90-7427C4A33A74}"/>
          </ac:graphicFrameMkLst>
        </pc:graphicFrameChg>
        <pc:graphicFrameChg chg="add mod modGraphic">
          <ac:chgData name="Pierre, Kelley" userId="S::kelley.pierre@accenture.com::75eb27c0-8a09-47b9-b68e-9e48882da6a6" providerId="AD" clId="Web-{8485A848-CED7-B1F4-137B-6911EB0AD8E6}" dt="2022-07-08T22:12:29.920" v="902"/>
          <ac:graphicFrameMkLst>
            <pc:docMk/>
            <pc:sldMk cId="4194863863" sldId="261"/>
            <ac:graphicFrameMk id="8" creationId="{A0E88ACC-7BE3-F8F6-3762-ACF434134537}"/>
          </ac:graphicFrameMkLst>
        </pc:graphicFrameChg>
        <pc:picChg chg="del">
          <ac:chgData name="Pierre, Kelley" userId="S::kelley.pierre@accenture.com::75eb27c0-8a09-47b9-b68e-9e48882da6a6" providerId="AD" clId="Web-{8485A848-CED7-B1F4-137B-6911EB0AD8E6}" dt="2022-07-08T18:56:01.980" v="316"/>
          <ac:picMkLst>
            <pc:docMk/>
            <pc:sldMk cId="4194863863" sldId="261"/>
            <ac:picMk id="2" creationId="{3FD04CE9-3D01-8573-C146-04B6B9D0ADDE}"/>
          </ac:picMkLst>
        </pc:picChg>
        <pc:picChg chg="add del mod">
          <ac:chgData name="Pierre, Kelley" userId="S::kelley.pierre@accenture.com::75eb27c0-8a09-47b9-b68e-9e48882da6a6" providerId="AD" clId="Web-{8485A848-CED7-B1F4-137B-6911EB0AD8E6}" dt="2022-07-09T00:11:42.266" v="906"/>
          <ac:picMkLst>
            <pc:docMk/>
            <pc:sldMk cId="4194863863" sldId="261"/>
            <ac:picMk id="2" creationId="{62FD46A0-0FA4-FE9C-5138-2DB2DBC3F08E}"/>
          </ac:picMkLst>
        </pc:picChg>
        <pc:picChg chg="add">
          <ac:chgData name="Pierre, Kelley" userId="S::kelley.pierre@accenture.com::75eb27c0-8a09-47b9-b68e-9e48882da6a6" providerId="AD" clId="Web-{8485A848-CED7-B1F4-137B-6911EB0AD8E6}" dt="2022-07-08T21:50:19.384" v="868"/>
          <ac:picMkLst>
            <pc:docMk/>
            <pc:sldMk cId="4194863863" sldId="261"/>
            <ac:picMk id="3" creationId="{8C07C2DF-DB61-AE03-6758-8267ED885464}"/>
          </ac:picMkLst>
        </pc:picChg>
        <pc:picChg chg="del">
          <ac:chgData name="Pierre, Kelley" userId="S::kelley.pierre@accenture.com::75eb27c0-8a09-47b9-b68e-9e48882da6a6" providerId="AD" clId="Web-{8485A848-CED7-B1F4-137B-6911EB0AD8E6}" dt="2022-07-08T18:56:02.949" v="317"/>
          <ac:picMkLst>
            <pc:docMk/>
            <pc:sldMk cId="4194863863" sldId="261"/>
            <ac:picMk id="4" creationId="{2712B90F-B0ED-9C6C-76F6-95607A62BA1D}"/>
          </ac:picMkLst>
        </pc:picChg>
        <pc:picChg chg="del">
          <ac:chgData name="Pierre, Kelley" userId="S::kelley.pierre@accenture.com::75eb27c0-8a09-47b9-b68e-9e48882da6a6" providerId="AD" clId="Web-{8485A848-CED7-B1F4-137B-6911EB0AD8E6}" dt="2022-07-08T18:56:03.621" v="318"/>
          <ac:picMkLst>
            <pc:docMk/>
            <pc:sldMk cId="4194863863" sldId="261"/>
            <ac:picMk id="6" creationId="{8E7CADE7-5FD1-F3C5-E6B0-746A865D4444}"/>
          </ac:picMkLst>
        </pc:picChg>
        <pc:picChg chg="del">
          <ac:chgData name="Pierre, Kelley" userId="S::kelley.pierre@accenture.com::75eb27c0-8a09-47b9-b68e-9e48882da6a6" providerId="AD" clId="Web-{8485A848-CED7-B1F4-137B-6911EB0AD8E6}" dt="2022-07-08T18:56:04.433" v="319"/>
          <ac:picMkLst>
            <pc:docMk/>
            <pc:sldMk cId="4194863863" sldId="261"/>
            <ac:picMk id="11" creationId="{F40B56C2-DFA0-AC49-16D7-3CECE4466EA7}"/>
          </ac:picMkLst>
        </pc:picChg>
        <pc:picChg chg="del">
          <ac:chgData name="Pierre, Kelley" userId="S::kelley.pierre@accenture.com::75eb27c0-8a09-47b9-b68e-9e48882da6a6" providerId="AD" clId="Web-{8485A848-CED7-B1F4-137B-6911EB0AD8E6}" dt="2022-07-08T18:56:05.433" v="320"/>
          <ac:picMkLst>
            <pc:docMk/>
            <pc:sldMk cId="4194863863" sldId="261"/>
            <ac:picMk id="12" creationId="{8524702A-483B-78E4-6E58-8EA8D61B632F}"/>
          </ac:picMkLst>
        </pc:picChg>
        <pc:picChg chg="add">
          <ac:chgData name="Pierre, Kelley" userId="S::kelley.pierre@accenture.com::75eb27c0-8a09-47b9-b68e-9e48882da6a6" providerId="AD" clId="Web-{8485A848-CED7-B1F4-137B-6911EB0AD8E6}" dt="2022-07-08T19:18:10.346" v="379"/>
          <ac:picMkLst>
            <pc:docMk/>
            <pc:sldMk cId="4194863863" sldId="261"/>
            <ac:picMk id="13" creationId="{FDC61B82-0712-F914-B5A1-AEB0C02FF20A}"/>
          </ac:picMkLst>
        </pc:picChg>
        <pc:picChg chg="del">
          <ac:chgData name="Pierre, Kelley" userId="S::kelley.pierre@accenture.com::75eb27c0-8a09-47b9-b68e-9e48882da6a6" providerId="AD" clId="Web-{8485A848-CED7-B1F4-137B-6911EB0AD8E6}" dt="2022-07-08T18:56:06.136" v="321"/>
          <ac:picMkLst>
            <pc:docMk/>
            <pc:sldMk cId="4194863863" sldId="261"/>
            <ac:picMk id="14" creationId="{174247C2-8D73-30C6-FC15-2B7F6250274C}"/>
          </ac:picMkLst>
        </pc:picChg>
      </pc:sldChg>
      <pc:sldChg chg="modSp del">
        <pc:chgData name="Pierre, Kelley" userId="S::kelley.pierre@accenture.com::75eb27c0-8a09-47b9-b68e-9e48882da6a6" providerId="AD" clId="Web-{8485A848-CED7-B1F4-137B-6911EB0AD8E6}" dt="2022-07-08T20:41:31.001" v="485"/>
        <pc:sldMkLst>
          <pc:docMk/>
          <pc:sldMk cId="2732365266" sldId="262"/>
        </pc:sldMkLst>
        <pc:graphicFrameChg chg="mod modGraphic">
          <ac:chgData name="Pierre, Kelley" userId="S::kelley.pierre@accenture.com::75eb27c0-8a09-47b9-b68e-9e48882da6a6" providerId="AD" clId="Web-{8485A848-CED7-B1F4-137B-6911EB0AD8E6}" dt="2022-07-08T20:36:34.618" v="397"/>
          <ac:graphicFrameMkLst>
            <pc:docMk/>
            <pc:sldMk cId="2732365266" sldId="262"/>
            <ac:graphicFrameMk id="7" creationId="{69CB2100-137C-4779-AB90-7427C4A33A74}"/>
          </ac:graphicFrameMkLst>
        </pc:graphicFrameChg>
      </pc:sldChg>
      <pc:sldChg chg="modSp del">
        <pc:chgData name="Pierre, Kelley" userId="S::kelley.pierre@accenture.com::75eb27c0-8a09-47b9-b68e-9e48882da6a6" providerId="AD" clId="Web-{8485A848-CED7-B1F4-137B-6911EB0AD8E6}" dt="2022-07-08T20:46:56.855" v="567"/>
        <pc:sldMkLst>
          <pc:docMk/>
          <pc:sldMk cId="3524889860" sldId="263"/>
        </pc:sldMkLst>
        <pc:graphicFrameChg chg="mod modGraphic">
          <ac:chgData name="Pierre, Kelley" userId="S::kelley.pierre@accenture.com::75eb27c0-8a09-47b9-b68e-9e48882da6a6" providerId="AD" clId="Web-{8485A848-CED7-B1F4-137B-6911EB0AD8E6}" dt="2022-07-08T20:41:55.079" v="487"/>
          <ac:graphicFrameMkLst>
            <pc:docMk/>
            <pc:sldMk cId="3524889860" sldId="263"/>
            <ac:graphicFrameMk id="7" creationId="{69CB2100-137C-4779-AB90-7427C4A33A74}"/>
          </ac:graphicFrameMkLst>
        </pc:graphicFrameChg>
      </pc:sldChg>
      <pc:sldChg chg="modSp del">
        <pc:chgData name="Pierre, Kelley" userId="S::kelley.pierre@accenture.com::75eb27c0-8a09-47b9-b68e-9e48882da6a6" providerId="AD" clId="Web-{8485A848-CED7-B1F4-137B-6911EB0AD8E6}" dt="2022-07-08T20:51:52.550" v="647"/>
        <pc:sldMkLst>
          <pc:docMk/>
          <pc:sldMk cId="127420792" sldId="264"/>
        </pc:sldMkLst>
        <pc:graphicFrameChg chg="mod modGraphic">
          <ac:chgData name="Pierre, Kelley" userId="S::kelley.pierre@accenture.com::75eb27c0-8a09-47b9-b68e-9e48882da6a6" providerId="AD" clId="Web-{8485A848-CED7-B1F4-137B-6911EB0AD8E6}" dt="2022-07-08T20:47:09.808" v="569"/>
          <ac:graphicFrameMkLst>
            <pc:docMk/>
            <pc:sldMk cId="127420792" sldId="264"/>
            <ac:graphicFrameMk id="7" creationId="{69CB2100-137C-4779-AB90-7427C4A33A74}"/>
          </ac:graphicFrameMkLst>
        </pc:graphicFrameChg>
      </pc:sldChg>
      <pc:sldChg chg="modSp del">
        <pc:chgData name="Pierre, Kelley" userId="S::kelley.pierre@accenture.com::75eb27c0-8a09-47b9-b68e-9e48882da6a6" providerId="AD" clId="Web-{8485A848-CED7-B1F4-137B-6911EB0AD8E6}" dt="2022-07-08T20:57:28.480" v="732"/>
        <pc:sldMkLst>
          <pc:docMk/>
          <pc:sldMk cId="4270235263" sldId="265"/>
        </pc:sldMkLst>
        <pc:graphicFrameChg chg="mod modGraphic">
          <ac:chgData name="Pierre, Kelley" userId="S::kelley.pierre@accenture.com::75eb27c0-8a09-47b9-b68e-9e48882da6a6" providerId="AD" clId="Web-{8485A848-CED7-B1F4-137B-6911EB0AD8E6}" dt="2022-07-08T20:53:00.223" v="649"/>
          <ac:graphicFrameMkLst>
            <pc:docMk/>
            <pc:sldMk cId="4270235263" sldId="265"/>
            <ac:graphicFrameMk id="7" creationId="{69CB2100-137C-4779-AB90-7427C4A33A74}"/>
          </ac:graphicFrameMkLst>
        </pc:graphicFrameChg>
      </pc:sldChg>
      <pc:sldChg chg="modSp del">
        <pc:chgData name="Pierre, Kelley" userId="S::kelley.pierre@accenture.com::75eb27c0-8a09-47b9-b68e-9e48882da6a6" providerId="AD" clId="Web-{8485A848-CED7-B1F4-137B-6911EB0AD8E6}" dt="2022-07-08T21:05:12.538" v="762"/>
        <pc:sldMkLst>
          <pc:docMk/>
          <pc:sldMk cId="1392176940" sldId="266"/>
        </pc:sldMkLst>
        <pc:graphicFrameChg chg="mod modGraphic">
          <ac:chgData name="Pierre, Kelley" userId="S::kelley.pierre@accenture.com::75eb27c0-8a09-47b9-b68e-9e48882da6a6" providerId="AD" clId="Web-{8485A848-CED7-B1F4-137B-6911EB0AD8E6}" dt="2022-07-08T20:58:11.340" v="733"/>
          <ac:graphicFrameMkLst>
            <pc:docMk/>
            <pc:sldMk cId="1392176940" sldId="266"/>
            <ac:graphicFrameMk id="7" creationId="{69CB2100-137C-4779-AB90-7427C4A33A74}"/>
          </ac:graphicFrameMkLst>
        </pc:graphicFrameChg>
      </pc:sldChg>
      <pc:sldChg chg="modSp del">
        <pc:chgData name="Pierre, Kelley" userId="S::kelley.pierre@accenture.com::75eb27c0-8a09-47b9-b68e-9e48882da6a6" providerId="AD" clId="Web-{8485A848-CED7-B1F4-137B-6911EB0AD8E6}" dt="2022-07-08T21:17:32.088" v="839"/>
        <pc:sldMkLst>
          <pc:docMk/>
          <pc:sldMk cId="673640267" sldId="268"/>
        </pc:sldMkLst>
        <pc:graphicFrameChg chg="mod modGraphic">
          <ac:chgData name="Pierre, Kelley" userId="S::kelley.pierre@accenture.com::75eb27c0-8a09-47b9-b68e-9e48882da6a6" providerId="AD" clId="Web-{8485A848-CED7-B1F4-137B-6911EB0AD8E6}" dt="2022-07-08T21:06:13.619" v="765"/>
          <ac:graphicFrameMkLst>
            <pc:docMk/>
            <pc:sldMk cId="673640267" sldId="268"/>
            <ac:graphicFrameMk id="7" creationId="{69CB2100-137C-4779-AB90-7427C4A33A74}"/>
          </ac:graphicFrameMkLst>
        </pc:graphicFrameChg>
      </pc:sldChg>
      <pc:sldChg chg="modSp">
        <pc:chgData name="Pierre, Kelley" userId="S::kelley.pierre@accenture.com::75eb27c0-8a09-47b9-b68e-9e48882da6a6" providerId="AD" clId="Web-{8485A848-CED7-B1F4-137B-6911EB0AD8E6}" dt="2022-07-09T02:17:57.452" v="923" actId="20577"/>
        <pc:sldMkLst>
          <pc:docMk/>
          <pc:sldMk cId="3786903442" sldId="2134805192"/>
        </pc:sldMkLst>
        <pc:spChg chg="mod">
          <ac:chgData name="Pierre, Kelley" userId="S::kelley.pierre@accenture.com::75eb27c0-8a09-47b9-b68e-9e48882da6a6" providerId="AD" clId="Web-{8485A848-CED7-B1F4-137B-6911EB0AD8E6}" dt="2022-07-09T02:17:57.452" v="923" actId="20577"/>
          <ac:spMkLst>
            <pc:docMk/>
            <pc:sldMk cId="3786903442" sldId="2134805192"/>
            <ac:spMk id="7" creationId="{C43B965F-1306-F650-10E9-9036A8BD354F}"/>
          </ac:spMkLst>
        </pc:spChg>
      </pc:sldChg>
      <pc:sldChg chg="addSp delSp modSp add del replId">
        <pc:chgData name="Pierre, Kelley" userId="S::kelley.pierre@accenture.com::75eb27c0-8a09-47b9-b68e-9e48882da6a6" providerId="AD" clId="Web-{8485A848-CED7-B1F4-137B-6911EB0AD8E6}" dt="2022-07-08T18:41:05.347" v="129"/>
        <pc:sldMkLst>
          <pc:docMk/>
          <pc:sldMk cId="3275152267" sldId="2134805195"/>
        </pc:sldMkLst>
        <pc:spChg chg="del mod">
          <ac:chgData name="Pierre, Kelley" userId="S::kelley.pierre@accenture.com::75eb27c0-8a09-47b9-b68e-9e48882da6a6" providerId="AD" clId="Web-{8485A848-CED7-B1F4-137B-6911EB0AD8E6}" dt="2022-07-08T16:20:24.963" v="19"/>
          <ac:spMkLst>
            <pc:docMk/>
            <pc:sldMk cId="3275152267" sldId="2134805195"/>
            <ac:spMk id="2" creationId="{6EDCF42D-C9A5-A5C0-433C-F9FA42865C1C}"/>
          </ac:spMkLst>
        </pc:spChg>
        <pc:spChg chg="add del">
          <ac:chgData name="Pierre, Kelley" userId="S::kelley.pierre@accenture.com::75eb27c0-8a09-47b9-b68e-9e48882da6a6" providerId="AD" clId="Web-{8485A848-CED7-B1F4-137B-6911EB0AD8E6}" dt="2022-07-08T16:20:20.353" v="17"/>
          <ac:spMkLst>
            <pc:docMk/>
            <pc:sldMk cId="3275152267" sldId="2134805195"/>
            <ac:spMk id="3" creationId="{3BD33FFB-41AF-643D-B11C-244322B2DA1E}"/>
          </ac:spMkLst>
        </pc:spChg>
        <pc:spChg chg="add mod ord">
          <ac:chgData name="Pierre, Kelley" userId="S::kelley.pierre@accenture.com::75eb27c0-8a09-47b9-b68e-9e48882da6a6" providerId="AD" clId="Web-{8485A848-CED7-B1F4-137B-6911EB0AD8E6}" dt="2022-07-08T16:22:10.826" v="38" actId="14100"/>
          <ac:spMkLst>
            <pc:docMk/>
            <pc:sldMk cId="3275152267" sldId="2134805195"/>
            <ac:spMk id="5" creationId="{A0C6A243-06CA-D15E-9ABB-A0BCAD9A0924}"/>
          </ac:spMkLst>
        </pc:spChg>
        <pc:spChg chg="add mod ord">
          <ac:chgData name="Pierre, Kelley" userId="S::kelley.pierre@accenture.com::75eb27c0-8a09-47b9-b68e-9e48882da6a6" providerId="AD" clId="Web-{8485A848-CED7-B1F4-137B-6911EB0AD8E6}" dt="2022-07-08T16:27:46.102" v="42" actId="14100"/>
          <ac:spMkLst>
            <pc:docMk/>
            <pc:sldMk cId="3275152267" sldId="2134805195"/>
            <ac:spMk id="6" creationId="{13D14410-FEB1-7BFC-A573-A57C095C942E}"/>
          </ac:spMkLst>
        </pc:spChg>
        <pc:spChg chg="mod">
          <ac:chgData name="Pierre, Kelley" userId="S::kelley.pierre@accenture.com::75eb27c0-8a09-47b9-b68e-9e48882da6a6" providerId="AD" clId="Web-{8485A848-CED7-B1F4-137B-6911EB0AD8E6}" dt="2022-07-08T17:05:41.601" v="81" actId="20577"/>
          <ac:spMkLst>
            <pc:docMk/>
            <pc:sldMk cId="3275152267" sldId="2134805195"/>
            <ac:spMk id="9" creationId="{43AB19C9-D5C3-4F76-978A-A55F70609C4A}"/>
          </ac:spMkLst>
        </pc:spChg>
        <pc:graphicFrameChg chg="mod modGraphic">
          <ac:chgData name="Pierre, Kelley" userId="S::kelley.pierre@accenture.com::75eb27c0-8a09-47b9-b68e-9e48882da6a6" providerId="AD" clId="Web-{8485A848-CED7-B1F4-137B-6911EB0AD8E6}" dt="2022-07-08T18:16:41.105" v="106"/>
          <ac:graphicFrameMkLst>
            <pc:docMk/>
            <pc:sldMk cId="3275152267" sldId="2134805195"/>
            <ac:graphicFrameMk id="7" creationId="{69CB2100-137C-4779-AB90-7427C4A33A74}"/>
          </ac:graphicFrameMkLst>
        </pc:graphicFrameChg>
        <pc:picChg chg="add mod">
          <ac:chgData name="Pierre, Kelley" userId="S::kelley.pierre@accenture.com::75eb27c0-8a09-47b9-b68e-9e48882da6a6" providerId="AD" clId="Web-{8485A848-CED7-B1F4-137B-6911EB0AD8E6}" dt="2022-07-08T17:07:17.058" v="88" actId="14100"/>
          <ac:picMkLst>
            <pc:docMk/>
            <pc:sldMk cId="3275152267" sldId="2134805195"/>
            <ac:picMk id="2" creationId="{C82885B3-187B-AAF4-DAD4-6B84BD56AE32}"/>
          </ac:picMkLst>
        </pc:picChg>
        <pc:picChg chg="add mod">
          <ac:chgData name="Pierre, Kelley" userId="S::kelley.pierre@accenture.com::75eb27c0-8a09-47b9-b68e-9e48882da6a6" providerId="AD" clId="Web-{8485A848-CED7-B1F4-137B-6911EB0AD8E6}" dt="2022-07-08T16:30:57.967" v="67" actId="14100"/>
          <ac:picMkLst>
            <pc:docMk/>
            <pc:sldMk cId="3275152267" sldId="2134805195"/>
            <ac:picMk id="8" creationId="{2B630541-26DF-0B52-0F3D-BFFF589DCE2E}"/>
          </ac:picMkLst>
        </pc:picChg>
        <pc:picChg chg="del">
          <ac:chgData name="Pierre, Kelley" userId="S::kelley.pierre@accenture.com::75eb27c0-8a09-47b9-b68e-9e48882da6a6" providerId="AD" clId="Web-{8485A848-CED7-B1F4-137B-6911EB0AD8E6}" dt="2022-07-08T16:21:12.918" v="26"/>
          <ac:picMkLst>
            <pc:docMk/>
            <pc:sldMk cId="3275152267" sldId="2134805195"/>
            <ac:picMk id="11" creationId="{C59FA9C2-C59F-C388-D213-976D440FB200}"/>
          </ac:picMkLst>
        </pc:picChg>
        <pc:picChg chg="del">
          <ac:chgData name="Pierre, Kelley" userId="S::kelley.pierre@accenture.com::75eb27c0-8a09-47b9-b68e-9e48882da6a6" providerId="AD" clId="Web-{8485A848-CED7-B1F4-137B-6911EB0AD8E6}" dt="2022-07-08T16:21:14.089" v="27"/>
          <ac:picMkLst>
            <pc:docMk/>
            <pc:sldMk cId="3275152267" sldId="2134805195"/>
            <ac:picMk id="12" creationId="{B5CA12AC-5A26-5BA8-17A1-C47641E5E189}"/>
          </ac:picMkLst>
        </pc:picChg>
        <pc:picChg chg="del">
          <ac:chgData name="Pierre, Kelley" userId="S::kelley.pierre@accenture.com::75eb27c0-8a09-47b9-b68e-9e48882da6a6" providerId="AD" clId="Web-{8485A848-CED7-B1F4-137B-6911EB0AD8E6}" dt="2022-07-08T16:21:15.011" v="28"/>
          <ac:picMkLst>
            <pc:docMk/>
            <pc:sldMk cId="3275152267" sldId="2134805195"/>
            <ac:picMk id="15" creationId="{2526F6DE-D910-C151-FD49-8E273C6419AA}"/>
          </ac:picMkLst>
        </pc:picChg>
        <pc:picChg chg="del">
          <ac:chgData name="Pierre, Kelley" userId="S::kelley.pierre@accenture.com::75eb27c0-8a09-47b9-b68e-9e48882da6a6" providerId="AD" clId="Web-{8485A848-CED7-B1F4-137B-6911EB0AD8E6}" dt="2022-07-08T16:21:15.902" v="29"/>
          <ac:picMkLst>
            <pc:docMk/>
            <pc:sldMk cId="3275152267" sldId="2134805195"/>
            <ac:picMk id="18" creationId="{47C1D93A-980B-EED2-496F-F56A56E6E797}"/>
          </ac:picMkLst>
        </pc:picChg>
        <pc:picChg chg="del">
          <ac:chgData name="Pierre, Kelley" userId="S::kelley.pierre@accenture.com::75eb27c0-8a09-47b9-b68e-9e48882da6a6" providerId="AD" clId="Web-{8485A848-CED7-B1F4-137B-6911EB0AD8E6}" dt="2022-07-08T16:21:16.730" v="30"/>
          <ac:picMkLst>
            <pc:docMk/>
            <pc:sldMk cId="3275152267" sldId="2134805195"/>
            <ac:picMk id="20" creationId="{C3B0AB6E-8DF7-A5AD-081E-3DC088DADC46}"/>
          </ac:picMkLst>
        </pc:picChg>
        <pc:picChg chg="del">
          <ac:chgData name="Pierre, Kelley" userId="S::kelley.pierre@accenture.com::75eb27c0-8a09-47b9-b68e-9e48882da6a6" providerId="AD" clId="Web-{8485A848-CED7-B1F4-137B-6911EB0AD8E6}" dt="2022-07-08T16:21:17.683" v="31"/>
          <ac:picMkLst>
            <pc:docMk/>
            <pc:sldMk cId="3275152267" sldId="2134805195"/>
            <ac:picMk id="22" creationId="{421A0B5F-63A9-89CA-7F45-7FC2D683F188}"/>
          </ac:picMkLst>
        </pc:picChg>
      </pc:sldChg>
      <pc:sldChg chg="addSp delSp modSp add del replId">
        <pc:chgData name="Pierre, Kelley" userId="S::kelley.pierre@accenture.com::75eb27c0-8a09-47b9-b68e-9e48882da6a6" providerId="AD" clId="Web-{8485A848-CED7-B1F4-137B-6911EB0AD8E6}" dt="2022-07-08T18:40:54.706" v="128"/>
        <pc:sldMkLst>
          <pc:docMk/>
          <pc:sldMk cId="3444407153" sldId="2134805196"/>
        </pc:sldMkLst>
        <pc:spChg chg="add mod ord">
          <ac:chgData name="Pierre, Kelley" userId="S::kelley.pierre@accenture.com::75eb27c0-8a09-47b9-b68e-9e48882da6a6" providerId="AD" clId="Web-{8485A848-CED7-B1F4-137B-6911EB0AD8E6}" dt="2022-07-08T16:29:18.871" v="50" actId="14100"/>
          <ac:spMkLst>
            <pc:docMk/>
            <pc:sldMk cId="3444407153" sldId="2134805196"/>
            <ac:spMk id="2" creationId="{71C5C891-5734-6642-DCB9-DCA352F68607}"/>
          </ac:spMkLst>
        </pc:spChg>
        <pc:spChg chg="del">
          <ac:chgData name="Pierre, Kelley" userId="S::kelley.pierre@accenture.com::75eb27c0-8a09-47b9-b68e-9e48882da6a6" providerId="AD" clId="Web-{8485A848-CED7-B1F4-137B-6911EB0AD8E6}" dt="2022-07-08T16:28:34.963" v="44"/>
          <ac:spMkLst>
            <pc:docMk/>
            <pc:sldMk cId="3444407153" sldId="2134805196"/>
            <ac:spMk id="6" creationId="{13D14410-FEB1-7BFC-A573-A57C095C942E}"/>
          </ac:spMkLst>
        </pc:spChg>
        <pc:spChg chg="mod">
          <ac:chgData name="Pierre, Kelley" userId="S::kelley.pierre@accenture.com::75eb27c0-8a09-47b9-b68e-9e48882da6a6" providerId="AD" clId="Web-{8485A848-CED7-B1F4-137B-6911EB0AD8E6}" dt="2022-07-08T17:08:07.247" v="102" actId="20577"/>
          <ac:spMkLst>
            <pc:docMk/>
            <pc:sldMk cId="3444407153" sldId="2134805196"/>
            <ac:spMk id="9" creationId="{43AB19C9-D5C3-4F76-978A-A55F70609C4A}"/>
          </ac:spMkLst>
        </pc:spChg>
        <pc:graphicFrameChg chg="modGraphic">
          <ac:chgData name="Pierre, Kelley" userId="S::kelley.pierre@accenture.com::75eb27c0-8a09-47b9-b68e-9e48882da6a6" providerId="AD" clId="Web-{8485A848-CED7-B1F4-137B-6911EB0AD8E6}" dt="2022-07-08T16:29:23.152" v="51"/>
          <ac:graphicFrameMkLst>
            <pc:docMk/>
            <pc:sldMk cId="3444407153" sldId="2134805196"/>
            <ac:graphicFrameMk id="7" creationId="{69CB2100-137C-4779-AB90-7427C4A33A74}"/>
          </ac:graphicFrameMkLst>
        </pc:graphicFrameChg>
        <pc:picChg chg="add mod">
          <ac:chgData name="Pierre, Kelley" userId="S::kelley.pierre@accenture.com::75eb27c0-8a09-47b9-b68e-9e48882da6a6" providerId="AD" clId="Web-{8485A848-CED7-B1F4-137B-6911EB0AD8E6}" dt="2022-07-08T16:30:34.295" v="63" actId="14100"/>
          <ac:picMkLst>
            <pc:docMk/>
            <pc:sldMk cId="3444407153" sldId="2134805196"/>
            <ac:picMk id="3" creationId="{2B630541-26DF-0B52-0F3D-BFFF589DCE2E}"/>
          </ac:picMkLst>
        </pc:picChg>
        <pc:picChg chg="add mod">
          <ac:chgData name="Pierre, Kelley" userId="S::kelley.pierre@accenture.com::75eb27c0-8a09-47b9-b68e-9e48882da6a6" providerId="AD" clId="Web-{8485A848-CED7-B1F4-137B-6911EB0AD8E6}" dt="2022-07-08T17:07:50.074" v="92" actId="14100"/>
          <ac:picMkLst>
            <pc:docMk/>
            <pc:sldMk cId="3444407153" sldId="2134805196"/>
            <ac:picMk id="6" creationId="{5BD25E4B-C956-95CF-2EEB-2F569D6B9333}"/>
          </ac:picMkLst>
        </pc:picChg>
      </pc:sldChg>
      <pc:sldChg chg="addSp delSp modSp add replId">
        <pc:chgData name="Pierre, Kelley" userId="S::kelley.pierre@accenture.com::75eb27c0-8a09-47b9-b68e-9e48882da6a6" providerId="AD" clId="Web-{8485A848-CED7-B1F4-137B-6911EB0AD8E6}" dt="2022-07-09T02:17:30.185" v="907"/>
        <pc:sldMkLst>
          <pc:docMk/>
          <pc:sldMk cId="3668454863" sldId="2134805197"/>
        </pc:sldMkLst>
        <pc:spChg chg="add">
          <ac:chgData name="Pierre, Kelley" userId="S::kelley.pierre@accenture.com::75eb27c0-8a09-47b9-b68e-9e48882da6a6" providerId="AD" clId="Web-{8485A848-CED7-B1F4-137B-6911EB0AD8E6}" dt="2022-07-09T02:17:30.185" v="907"/>
          <ac:spMkLst>
            <pc:docMk/>
            <pc:sldMk cId="3668454863" sldId="2134805197"/>
            <ac:spMk id="5" creationId="{2D5EDFBA-390B-D4CD-75E3-8AE8E1527A3D}"/>
          </ac:spMkLst>
        </pc:spChg>
        <pc:spChg chg="del">
          <ac:chgData name="Pierre, Kelley" userId="S::kelley.pierre@accenture.com::75eb27c0-8a09-47b9-b68e-9e48882da6a6" providerId="AD" clId="Web-{8485A848-CED7-B1F4-137B-6911EB0AD8E6}" dt="2022-07-08T18:36:28.465" v="109"/>
          <ac:spMkLst>
            <pc:docMk/>
            <pc:sldMk cId="3668454863" sldId="2134805197"/>
            <ac:spMk id="5" creationId="{A0C6A243-06CA-D15E-9ABB-A0BCAD9A0924}"/>
          </ac:spMkLst>
        </pc:spChg>
        <pc:spChg chg="del">
          <ac:chgData name="Pierre, Kelley" userId="S::kelley.pierre@accenture.com::75eb27c0-8a09-47b9-b68e-9e48882da6a6" providerId="AD" clId="Web-{8485A848-CED7-B1F4-137B-6911EB0AD8E6}" dt="2022-07-08T18:36:18.949" v="108"/>
          <ac:spMkLst>
            <pc:docMk/>
            <pc:sldMk cId="3668454863" sldId="2134805197"/>
            <ac:spMk id="6" creationId="{13D14410-FEB1-7BFC-A573-A57C095C942E}"/>
          </ac:spMkLst>
        </pc:spChg>
        <pc:graphicFrameChg chg="mod modGraphic">
          <ac:chgData name="Pierre, Kelley" userId="S::kelley.pierre@accenture.com::75eb27c0-8a09-47b9-b68e-9e48882da6a6" providerId="AD" clId="Web-{8485A848-CED7-B1F4-137B-6911EB0AD8E6}" dt="2022-07-08T18:38:59.719" v="127" actId="1076"/>
          <ac:graphicFrameMkLst>
            <pc:docMk/>
            <pc:sldMk cId="3668454863" sldId="2134805197"/>
            <ac:graphicFrameMk id="7" creationId="{69CB2100-137C-4779-AB90-7427C4A33A74}"/>
          </ac:graphicFrameMkLst>
        </pc:graphicFrameChg>
        <pc:picChg chg="mod">
          <ac:chgData name="Pierre, Kelley" userId="S::kelley.pierre@accenture.com::75eb27c0-8a09-47b9-b68e-9e48882da6a6" providerId="AD" clId="Web-{8485A848-CED7-B1F4-137B-6911EB0AD8E6}" dt="2022-07-08T18:36:56.418" v="113" actId="14100"/>
          <ac:picMkLst>
            <pc:docMk/>
            <pc:sldMk cId="3668454863" sldId="2134805197"/>
            <ac:picMk id="2" creationId="{C82885B3-187B-AAF4-DAD4-6B84BD56AE32}"/>
          </ac:picMkLst>
        </pc:picChg>
        <pc:picChg chg="add mod">
          <ac:chgData name="Pierre, Kelley" userId="S::kelley.pierre@accenture.com::75eb27c0-8a09-47b9-b68e-9e48882da6a6" providerId="AD" clId="Web-{8485A848-CED7-B1F4-137B-6911EB0AD8E6}" dt="2022-07-08T18:37:45.076" v="118" actId="1076"/>
          <ac:picMkLst>
            <pc:docMk/>
            <pc:sldMk cId="3668454863" sldId="2134805197"/>
            <ac:picMk id="3" creationId="{D48F69A0-A5C9-2DE0-7A06-3E7B65DD67D4}"/>
          </ac:picMkLst>
        </pc:picChg>
        <pc:picChg chg="mod">
          <ac:chgData name="Pierre, Kelley" userId="S::kelley.pierre@accenture.com::75eb27c0-8a09-47b9-b68e-9e48882da6a6" providerId="AD" clId="Web-{8485A848-CED7-B1F4-137B-6911EB0AD8E6}" dt="2022-07-08T18:36:42.246" v="111" actId="1076"/>
          <ac:picMkLst>
            <pc:docMk/>
            <pc:sldMk cId="3668454863" sldId="2134805197"/>
            <ac:picMk id="8" creationId="{2B630541-26DF-0B52-0F3D-BFFF589DCE2E}"/>
          </ac:picMkLst>
        </pc:picChg>
      </pc:sldChg>
      <pc:sldChg chg="addSp delSp modSp add replId">
        <pc:chgData name="Pierre, Kelley" userId="S::kelley.pierre@accenture.com::75eb27c0-8a09-47b9-b68e-9e48882da6a6" providerId="AD" clId="Web-{8485A848-CED7-B1F4-137B-6911EB0AD8E6}" dt="2022-07-08T21:51:32.887" v="872"/>
        <pc:sldMkLst>
          <pc:docMk/>
          <pc:sldMk cId="3955135530" sldId="2134805198"/>
        </pc:sldMkLst>
        <pc:graphicFrameChg chg="add del mod">
          <ac:chgData name="Pierre, Kelley" userId="S::kelley.pierre@accenture.com::75eb27c0-8a09-47b9-b68e-9e48882da6a6" providerId="AD" clId="Web-{8485A848-CED7-B1F4-137B-6911EB0AD8E6}" dt="2022-07-08T20:41:07.750" v="483"/>
          <ac:graphicFrameMkLst>
            <pc:docMk/>
            <pc:sldMk cId="3955135530" sldId="2134805198"/>
            <ac:graphicFrameMk id="3" creationId="{1C7F5453-5819-52C3-D8E4-A5C256437B96}"/>
          </ac:graphicFrameMkLst>
        </pc:graphicFrameChg>
        <pc:graphicFrameChg chg="mod modGraphic">
          <ac:chgData name="Pierre, Kelley" userId="S::kelley.pierre@accenture.com::75eb27c0-8a09-47b9-b68e-9e48882da6a6" providerId="AD" clId="Web-{8485A848-CED7-B1F4-137B-6911EB0AD8E6}" dt="2022-07-08T20:41:16.750" v="484" actId="1076"/>
          <ac:graphicFrameMkLst>
            <pc:docMk/>
            <pc:sldMk cId="3955135530" sldId="2134805198"/>
            <ac:graphicFrameMk id="8" creationId="{A0E88ACC-7BE3-F8F6-3762-ACF434134537}"/>
          </ac:graphicFrameMkLst>
        </pc:graphicFrameChg>
        <pc:picChg chg="add">
          <ac:chgData name="Pierre, Kelley" userId="S::kelley.pierre@accenture.com::75eb27c0-8a09-47b9-b68e-9e48882da6a6" providerId="AD" clId="Web-{8485A848-CED7-B1F4-137B-6911EB0AD8E6}" dt="2022-07-08T21:51:32.887" v="872"/>
          <ac:picMkLst>
            <pc:docMk/>
            <pc:sldMk cId="3955135530" sldId="2134805198"/>
            <ac:picMk id="3" creationId="{26D71BC3-3D9B-1C67-E058-D5E1489C5DF0}"/>
          </ac:picMkLst>
        </pc:picChg>
      </pc:sldChg>
      <pc:sldChg chg="addSp delSp modSp add replId">
        <pc:chgData name="Pierre, Kelley" userId="S::kelley.pierre@accenture.com::75eb27c0-8a09-47b9-b68e-9e48882da6a6" providerId="AD" clId="Web-{8485A848-CED7-B1F4-137B-6911EB0AD8E6}" dt="2022-07-08T21:50:27.806" v="869"/>
        <pc:sldMkLst>
          <pc:docMk/>
          <pc:sldMk cId="340157503" sldId="2134805199"/>
        </pc:sldMkLst>
        <pc:graphicFrameChg chg="add del mod">
          <ac:chgData name="Pierre, Kelley" userId="S::kelley.pierre@accenture.com::75eb27c0-8a09-47b9-b68e-9e48882da6a6" providerId="AD" clId="Web-{8485A848-CED7-B1F4-137B-6911EB0AD8E6}" dt="2022-07-08T20:46:21.338" v="566"/>
          <ac:graphicFrameMkLst>
            <pc:docMk/>
            <pc:sldMk cId="340157503" sldId="2134805199"/>
            <ac:graphicFrameMk id="3" creationId="{3CE27DCF-F8DA-E052-847A-FE547966D3DC}"/>
          </ac:graphicFrameMkLst>
        </pc:graphicFrameChg>
        <pc:graphicFrameChg chg="mod modGraphic">
          <ac:chgData name="Pierre, Kelley" userId="S::kelley.pierre@accenture.com::75eb27c0-8a09-47b9-b68e-9e48882da6a6" providerId="AD" clId="Web-{8485A848-CED7-B1F4-137B-6911EB0AD8E6}" dt="2022-07-08T20:45:50.713" v="565"/>
          <ac:graphicFrameMkLst>
            <pc:docMk/>
            <pc:sldMk cId="340157503" sldId="2134805199"/>
            <ac:graphicFrameMk id="8" creationId="{A0E88ACC-7BE3-F8F6-3762-ACF434134537}"/>
          </ac:graphicFrameMkLst>
        </pc:graphicFrameChg>
        <pc:picChg chg="add">
          <ac:chgData name="Pierre, Kelley" userId="S::kelley.pierre@accenture.com::75eb27c0-8a09-47b9-b68e-9e48882da6a6" providerId="AD" clId="Web-{8485A848-CED7-B1F4-137B-6911EB0AD8E6}" dt="2022-07-08T21:50:27.806" v="869"/>
          <ac:picMkLst>
            <pc:docMk/>
            <pc:sldMk cId="340157503" sldId="2134805199"/>
            <ac:picMk id="3" creationId="{51D0454F-6566-A0C9-288B-25B53AF68EBB}"/>
          </ac:picMkLst>
        </pc:picChg>
      </pc:sldChg>
      <pc:sldChg chg="addSp delSp modSp add replId">
        <pc:chgData name="Pierre, Kelley" userId="S::kelley.pierre@accenture.com::75eb27c0-8a09-47b9-b68e-9e48882da6a6" providerId="AD" clId="Web-{8485A848-CED7-B1F4-137B-6911EB0AD8E6}" dt="2022-07-08T21:51:39.575" v="873"/>
        <pc:sldMkLst>
          <pc:docMk/>
          <pc:sldMk cId="622821397" sldId="2134805200"/>
        </pc:sldMkLst>
        <pc:graphicFrameChg chg="add del mod">
          <ac:chgData name="Pierre, Kelley" userId="S::kelley.pierre@accenture.com::75eb27c0-8a09-47b9-b68e-9e48882da6a6" providerId="AD" clId="Web-{8485A848-CED7-B1F4-137B-6911EB0AD8E6}" dt="2022-07-08T20:51:22.518" v="642"/>
          <ac:graphicFrameMkLst>
            <pc:docMk/>
            <pc:sldMk cId="622821397" sldId="2134805200"/>
            <ac:graphicFrameMk id="3" creationId="{DF0D0914-1A47-B860-78F3-1AECC231EA71}"/>
          </ac:graphicFrameMkLst>
        </pc:graphicFrameChg>
        <pc:graphicFrameChg chg="mod modGraphic">
          <ac:chgData name="Pierre, Kelley" userId="S::kelley.pierre@accenture.com::75eb27c0-8a09-47b9-b68e-9e48882da6a6" providerId="AD" clId="Web-{8485A848-CED7-B1F4-137B-6911EB0AD8E6}" dt="2022-07-08T20:51:41.065" v="646"/>
          <ac:graphicFrameMkLst>
            <pc:docMk/>
            <pc:sldMk cId="622821397" sldId="2134805200"/>
            <ac:graphicFrameMk id="8" creationId="{A0E88ACC-7BE3-F8F6-3762-ACF434134537}"/>
          </ac:graphicFrameMkLst>
        </pc:graphicFrameChg>
        <pc:picChg chg="add">
          <ac:chgData name="Pierre, Kelley" userId="S::kelley.pierre@accenture.com::75eb27c0-8a09-47b9-b68e-9e48882da6a6" providerId="AD" clId="Web-{8485A848-CED7-B1F4-137B-6911EB0AD8E6}" dt="2022-07-08T21:51:39.575" v="873"/>
          <ac:picMkLst>
            <pc:docMk/>
            <pc:sldMk cId="622821397" sldId="2134805200"/>
            <ac:picMk id="3" creationId="{D3F5FC76-F709-E6A6-39B5-21FD26175E8F}"/>
          </ac:picMkLst>
        </pc:picChg>
      </pc:sldChg>
      <pc:sldChg chg="addSp delSp modSp add replId">
        <pc:chgData name="Pierre, Kelley" userId="S::kelley.pierre@accenture.com::75eb27c0-8a09-47b9-b68e-9e48882da6a6" providerId="AD" clId="Web-{8485A848-CED7-B1F4-137B-6911EB0AD8E6}" dt="2022-07-08T21:50:34.166" v="870"/>
        <pc:sldMkLst>
          <pc:docMk/>
          <pc:sldMk cId="20025668" sldId="2134805201"/>
        </pc:sldMkLst>
        <pc:graphicFrameChg chg="add del mod">
          <ac:chgData name="Pierre, Kelley" userId="S::kelley.pierre@accenture.com::75eb27c0-8a09-47b9-b68e-9e48882da6a6" providerId="AD" clId="Web-{8485A848-CED7-B1F4-137B-6911EB0AD8E6}" dt="2022-07-08T20:56:42.744" v="713"/>
          <ac:graphicFrameMkLst>
            <pc:docMk/>
            <pc:sldMk cId="20025668" sldId="2134805201"/>
            <ac:graphicFrameMk id="3" creationId="{AE6ABEE2-D609-AFCF-06D7-28906765ED4B}"/>
          </ac:graphicFrameMkLst>
        </pc:graphicFrameChg>
        <pc:graphicFrameChg chg="mod modGraphic">
          <ac:chgData name="Pierre, Kelley" userId="S::kelley.pierre@accenture.com::75eb27c0-8a09-47b9-b68e-9e48882da6a6" providerId="AD" clId="Web-{8485A848-CED7-B1F4-137B-6911EB0AD8E6}" dt="2022-07-08T20:57:11.792" v="731"/>
          <ac:graphicFrameMkLst>
            <pc:docMk/>
            <pc:sldMk cId="20025668" sldId="2134805201"/>
            <ac:graphicFrameMk id="8" creationId="{A0E88ACC-7BE3-F8F6-3762-ACF434134537}"/>
          </ac:graphicFrameMkLst>
        </pc:graphicFrameChg>
        <pc:picChg chg="add">
          <ac:chgData name="Pierre, Kelley" userId="S::kelley.pierre@accenture.com::75eb27c0-8a09-47b9-b68e-9e48882da6a6" providerId="AD" clId="Web-{8485A848-CED7-B1F4-137B-6911EB0AD8E6}" dt="2022-07-08T21:50:34.166" v="870"/>
          <ac:picMkLst>
            <pc:docMk/>
            <pc:sldMk cId="20025668" sldId="2134805201"/>
            <ac:picMk id="3" creationId="{A27B82FC-9ABC-7E48-56CC-624D24A985E1}"/>
          </ac:picMkLst>
        </pc:picChg>
      </pc:sldChg>
      <pc:sldChg chg="addSp delSp modSp add replId">
        <pc:chgData name="Pierre, Kelley" userId="S::kelley.pierre@accenture.com::75eb27c0-8a09-47b9-b68e-9e48882da6a6" providerId="AD" clId="Web-{8485A848-CED7-B1F4-137B-6911EB0AD8E6}" dt="2022-07-08T21:51:44.903" v="874"/>
        <pc:sldMkLst>
          <pc:docMk/>
          <pc:sldMk cId="3549426002" sldId="2134805202"/>
        </pc:sldMkLst>
        <pc:graphicFrameChg chg="add del mod modGraphic">
          <ac:chgData name="Pierre, Kelley" userId="S::kelley.pierre@accenture.com::75eb27c0-8a09-47b9-b68e-9e48882da6a6" providerId="AD" clId="Web-{8485A848-CED7-B1F4-137B-6911EB0AD8E6}" dt="2022-07-08T21:04:55.710" v="761"/>
          <ac:graphicFrameMkLst>
            <pc:docMk/>
            <pc:sldMk cId="3549426002" sldId="2134805202"/>
            <ac:graphicFrameMk id="3" creationId="{94824E5D-493E-C4FB-1D2E-8716390F4EF6}"/>
          </ac:graphicFrameMkLst>
        </pc:graphicFrameChg>
        <pc:graphicFrameChg chg="mod modGraphic">
          <ac:chgData name="Pierre, Kelley" userId="S::kelley.pierre@accenture.com::75eb27c0-8a09-47b9-b68e-9e48882da6a6" providerId="AD" clId="Web-{8485A848-CED7-B1F4-137B-6911EB0AD8E6}" dt="2022-07-08T21:19:17.841" v="867"/>
          <ac:graphicFrameMkLst>
            <pc:docMk/>
            <pc:sldMk cId="3549426002" sldId="2134805202"/>
            <ac:graphicFrameMk id="8" creationId="{A0E88ACC-7BE3-F8F6-3762-ACF434134537}"/>
          </ac:graphicFrameMkLst>
        </pc:graphicFrameChg>
        <pc:picChg chg="add">
          <ac:chgData name="Pierre, Kelley" userId="S::kelley.pierre@accenture.com::75eb27c0-8a09-47b9-b68e-9e48882da6a6" providerId="AD" clId="Web-{8485A848-CED7-B1F4-137B-6911EB0AD8E6}" dt="2022-07-08T21:51:44.903" v="874"/>
          <ac:picMkLst>
            <pc:docMk/>
            <pc:sldMk cId="3549426002" sldId="2134805202"/>
            <ac:picMk id="3" creationId="{D654C724-AE69-122C-76D5-8FD09EF6A563}"/>
          </ac:picMkLst>
        </pc:picChg>
      </pc:sldChg>
      <pc:sldChg chg="addSp delSp modSp add replId">
        <pc:chgData name="Pierre, Kelley" userId="S::kelley.pierre@accenture.com::75eb27c0-8a09-47b9-b68e-9e48882da6a6" providerId="AD" clId="Web-{8485A848-CED7-B1F4-137B-6911EB0AD8E6}" dt="2022-07-08T21:50:39.667" v="871"/>
        <pc:sldMkLst>
          <pc:docMk/>
          <pc:sldMk cId="2829868719" sldId="2134805203"/>
        </pc:sldMkLst>
        <pc:graphicFrameChg chg="add del mod ord">
          <ac:chgData name="Pierre, Kelley" userId="S::kelley.pierre@accenture.com::75eb27c0-8a09-47b9-b68e-9e48882da6a6" providerId="AD" clId="Web-{8485A848-CED7-B1F4-137B-6911EB0AD8E6}" dt="2022-07-08T21:14:22.943" v="820"/>
          <ac:graphicFrameMkLst>
            <pc:docMk/>
            <pc:sldMk cId="2829868719" sldId="2134805203"/>
            <ac:graphicFrameMk id="3" creationId="{D2A67346-69F7-4339-83C4-207CEF1A5B28}"/>
          </ac:graphicFrameMkLst>
        </pc:graphicFrameChg>
        <pc:graphicFrameChg chg="mod modGraphic">
          <ac:chgData name="Pierre, Kelley" userId="S::kelley.pierre@accenture.com::75eb27c0-8a09-47b9-b68e-9e48882da6a6" providerId="AD" clId="Web-{8485A848-CED7-B1F4-137B-6911EB0AD8E6}" dt="2022-07-08T21:18:59.231" v="853"/>
          <ac:graphicFrameMkLst>
            <pc:docMk/>
            <pc:sldMk cId="2829868719" sldId="2134805203"/>
            <ac:graphicFrameMk id="8" creationId="{A0E88ACC-7BE3-F8F6-3762-ACF434134537}"/>
          </ac:graphicFrameMkLst>
        </pc:graphicFrameChg>
        <pc:picChg chg="add">
          <ac:chgData name="Pierre, Kelley" userId="S::kelley.pierre@accenture.com::75eb27c0-8a09-47b9-b68e-9e48882da6a6" providerId="AD" clId="Web-{8485A848-CED7-B1F4-137B-6911EB0AD8E6}" dt="2022-07-08T21:50:39.667" v="871"/>
          <ac:picMkLst>
            <pc:docMk/>
            <pc:sldMk cId="2829868719" sldId="2134805203"/>
            <ac:picMk id="3" creationId="{10690584-6C03-A4C0-394A-63D3E864C7C1}"/>
          </ac:picMkLst>
        </pc:picChg>
      </pc:sldChg>
    </pc:docChg>
  </pc:docChgLst>
  <pc:docChgLst>
    <pc:chgData name="Okoye, Ogo" userId="S::ogochukwu.okoye@accenture.com::c42de8fc-8b09-4869-a5db-b98bbd7b16ce" providerId="AD" clId="Web-{EFC462B1-F015-BA8E-5388-50473281DBB4}"/>
    <pc:docChg chg="modSld">
      <pc:chgData name="Okoye, Ogo" userId="S::ogochukwu.okoye@accenture.com::c42de8fc-8b09-4869-a5db-b98bbd7b16ce" providerId="AD" clId="Web-{EFC462B1-F015-BA8E-5388-50473281DBB4}" dt="2022-07-08T17:45:33.523" v="225" actId="1076"/>
      <pc:docMkLst>
        <pc:docMk/>
      </pc:docMkLst>
      <pc:sldChg chg="modSp">
        <pc:chgData name="Okoye, Ogo" userId="S::ogochukwu.okoye@accenture.com::c42de8fc-8b09-4869-a5db-b98bbd7b16ce" providerId="AD" clId="Web-{EFC462B1-F015-BA8E-5388-50473281DBB4}" dt="2022-07-08T17:45:33.523" v="225" actId="1076"/>
        <pc:sldMkLst>
          <pc:docMk/>
          <pc:sldMk cId="3275152267" sldId="2134805195"/>
        </pc:sldMkLst>
        <pc:graphicFrameChg chg="mod modGraphic">
          <ac:chgData name="Okoye, Ogo" userId="S::ogochukwu.okoye@accenture.com::c42de8fc-8b09-4869-a5db-b98bbd7b16ce" providerId="AD" clId="Web-{EFC462B1-F015-BA8E-5388-50473281DBB4}" dt="2022-07-08T17:45:04.898" v="223"/>
          <ac:graphicFrameMkLst>
            <pc:docMk/>
            <pc:sldMk cId="3275152267" sldId="2134805195"/>
            <ac:graphicFrameMk id="7" creationId="{69CB2100-137C-4779-AB90-7427C4A33A74}"/>
          </ac:graphicFrameMkLst>
        </pc:graphicFrameChg>
        <pc:picChg chg="mod">
          <ac:chgData name="Okoye, Ogo" userId="S::ogochukwu.okoye@accenture.com::c42de8fc-8b09-4869-a5db-b98bbd7b16ce" providerId="AD" clId="Web-{EFC462B1-F015-BA8E-5388-50473281DBB4}" dt="2022-07-08T17:45:33.523" v="225" actId="1076"/>
          <ac:picMkLst>
            <pc:docMk/>
            <pc:sldMk cId="3275152267" sldId="2134805195"/>
            <ac:picMk id="2" creationId="{C82885B3-187B-AAF4-DAD4-6B84BD56AE32}"/>
          </ac:picMkLst>
        </pc:picChg>
        <pc:picChg chg="mod">
          <ac:chgData name="Okoye, Ogo" userId="S::ogochukwu.okoye@accenture.com::c42de8fc-8b09-4869-a5db-b98bbd7b16ce" providerId="AD" clId="Web-{EFC462B1-F015-BA8E-5388-50473281DBB4}" dt="2022-07-08T17:45:33.492" v="224" actId="1076"/>
          <ac:picMkLst>
            <pc:docMk/>
            <pc:sldMk cId="3275152267" sldId="2134805195"/>
            <ac:picMk id="8" creationId="{2B630541-26DF-0B52-0F3D-BFFF589DCE2E}"/>
          </ac:picMkLst>
        </pc:picChg>
      </pc:sldChg>
    </pc:docChg>
  </pc:docChgLst>
  <pc:docChgLst>
    <pc:chgData name="Pierre, Kelley" userId="S::kelley.pierre@accenture.com::75eb27c0-8a09-47b9-b68e-9e48882da6a6" providerId="AD" clId="Web-{35B01A80-11B8-443D-1638-9195945C7CC3}"/>
    <pc:docChg chg="modSld">
      <pc:chgData name="Pierre, Kelley" userId="S::kelley.pierre@accenture.com::75eb27c0-8a09-47b9-b68e-9e48882da6a6" providerId="AD" clId="Web-{35B01A80-11B8-443D-1638-9195945C7CC3}" dt="2022-07-05T22:55:31.275" v="246" actId="1076"/>
      <pc:docMkLst>
        <pc:docMk/>
      </pc:docMkLst>
      <pc:sldChg chg="addSp delSp modSp">
        <pc:chgData name="Pierre, Kelley" userId="S::kelley.pierre@accenture.com::75eb27c0-8a09-47b9-b68e-9e48882da6a6" providerId="AD" clId="Web-{35B01A80-11B8-443D-1638-9195945C7CC3}" dt="2022-07-05T19:24:38.638" v="96" actId="1076"/>
        <pc:sldMkLst>
          <pc:docMk/>
          <pc:sldMk cId="2530484429" sldId="260"/>
        </pc:sldMkLst>
        <pc:graphicFrameChg chg="mod modGraphic">
          <ac:chgData name="Pierre, Kelley" userId="S::kelley.pierre@accenture.com::75eb27c0-8a09-47b9-b68e-9e48882da6a6" providerId="AD" clId="Web-{35B01A80-11B8-443D-1638-9195945C7CC3}" dt="2022-07-05T18:24:36.086" v="11"/>
          <ac:graphicFrameMkLst>
            <pc:docMk/>
            <pc:sldMk cId="2530484429" sldId="260"/>
            <ac:graphicFrameMk id="12" creationId="{32EEC047-4764-641D-B52B-8E10BC0C7066}"/>
          </ac:graphicFrameMkLst>
        </pc:graphicFrameChg>
        <pc:picChg chg="add del mod">
          <ac:chgData name="Pierre, Kelley" userId="S::kelley.pierre@accenture.com::75eb27c0-8a09-47b9-b68e-9e48882da6a6" providerId="AD" clId="Web-{35B01A80-11B8-443D-1638-9195945C7CC3}" dt="2022-07-05T18:52:17.788" v="45"/>
          <ac:picMkLst>
            <pc:docMk/>
            <pc:sldMk cId="2530484429" sldId="260"/>
            <ac:picMk id="2" creationId="{DD0C1714-D86E-2F03-B1E3-5999551DA5F4}"/>
          </ac:picMkLst>
        </pc:picChg>
        <pc:picChg chg="del">
          <ac:chgData name="Pierre, Kelley" userId="S::kelley.pierre@accenture.com::75eb27c0-8a09-47b9-b68e-9e48882da6a6" providerId="AD" clId="Web-{35B01A80-11B8-443D-1638-9195945C7CC3}" dt="2022-07-05T19:07:48.111" v="61"/>
          <ac:picMkLst>
            <pc:docMk/>
            <pc:sldMk cId="2530484429" sldId="260"/>
            <ac:picMk id="3" creationId="{875AF489-547A-426A-9B48-68FC5955723E}"/>
          </ac:picMkLst>
        </pc:picChg>
        <pc:picChg chg="add del mod">
          <ac:chgData name="Pierre, Kelley" userId="S::kelley.pierre@accenture.com::75eb27c0-8a09-47b9-b68e-9e48882da6a6" providerId="AD" clId="Web-{35B01A80-11B8-443D-1638-9195945C7CC3}" dt="2022-07-05T19:23:31.668" v="87"/>
          <ac:picMkLst>
            <pc:docMk/>
            <pc:sldMk cId="2530484429" sldId="260"/>
            <ac:picMk id="4" creationId="{D2B667A4-A51D-D381-F892-808DA100CF19}"/>
          </ac:picMkLst>
        </pc:picChg>
        <pc:picChg chg="del">
          <ac:chgData name="Pierre, Kelley" userId="S::kelley.pierre@accenture.com::75eb27c0-8a09-47b9-b68e-9e48882da6a6" providerId="AD" clId="Web-{35B01A80-11B8-443D-1638-9195945C7CC3}" dt="2022-07-05T19:06:33.077" v="57"/>
          <ac:picMkLst>
            <pc:docMk/>
            <pc:sldMk cId="2530484429" sldId="260"/>
            <ac:picMk id="5" creationId="{458F6EDA-A504-4E6E-B457-DE2491D7DA75}"/>
          </ac:picMkLst>
        </pc:picChg>
        <pc:picChg chg="add mod">
          <ac:chgData name="Pierre, Kelley" userId="S::kelley.pierre@accenture.com::75eb27c0-8a09-47b9-b68e-9e48882da6a6" providerId="AD" clId="Web-{35B01A80-11B8-443D-1638-9195945C7CC3}" dt="2022-07-05T19:06:48.562" v="60" actId="1076"/>
          <ac:picMkLst>
            <pc:docMk/>
            <pc:sldMk cId="2530484429" sldId="260"/>
            <ac:picMk id="6" creationId="{495B492B-24E2-DBCE-4C20-62CD3B0F5E56}"/>
          </ac:picMkLst>
        </pc:picChg>
        <pc:picChg chg="add mod">
          <ac:chgData name="Pierre, Kelley" userId="S::kelley.pierre@accenture.com::75eb27c0-8a09-47b9-b68e-9e48882da6a6" providerId="AD" clId="Web-{35B01A80-11B8-443D-1638-9195945C7CC3}" dt="2022-07-05T19:08:06.783" v="66" actId="1076"/>
          <ac:picMkLst>
            <pc:docMk/>
            <pc:sldMk cId="2530484429" sldId="260"/>
            <ac:picMk id="7" creationId="{44175ECA-5F42-4C0F-028C-1CF99CF34B3E}"/>
          </ac:picMkLst>
        </pc:picChg>
        <pc:picChg chg="del">
          <ac:chgData name="Pierre, Kelley" userId="S::kelley.pierre@accenture.com::75eb27c0-8a09-47b9-b68e-9e48882da6a6" providerId="AD" clId="Web-{35B01A80-11B8-443D-1638-9195945C7CC3}" dt="2022-07-05T19:14:14.793" v="67"/>
          <ac:picMkLst>
            <pc:docMk/>
            <pc:sldMk cId="2530484429" sldId="260"/>
            <ac:picMk id="8" creationId="{8B253ED2-8119-4B7C-9BD8-A17F448A6EDE}"/>
          </ac:picMkLst>
        </pc:picChg>
        <pc:picChg chg="del">
          <ac:chgData name="Pierre, Kelley" userId="S::kelley.pierre@accenture.com::75eb27c0-8a09-47b9-b68e-9e48882da6a6" providerId="AD" clId="Web-{35B01A80-11B8-443D-1638-9195945C7CC3}" dt="2022-07-05T19:15:26.670" v="71"/>
          <ac:picMkLst>
            <pc:docMk/>
            <pc:sldMk cId="2530484429" sldId="260"/>
            <ac:picMk id="10" creationId="{94BB4C23-1DDD-4603-ADEE-EE78219A024E}"/>
          </ac:picMkLst>
        </pc:picChg>
        <pc:picChg chg="add mod">
          <ac:chgData name="Pierre, Kelley" userId="S::kelley.pierre@accenture.com::75eb27c0-8a09-47b9-b68e-9e48882da6a6" providerId="AD" clId="Web-{35B01A80-11B8-443D-1638-9195945C7CC3}" dt="2022-07-05T19:14:25.418" v="70" actId="1076"/>
          <ac:picMkLst>
            <pc:docMk/>
            <pc:sldMk cId="2530484429" sldId="260"/>
            <ac:picMk id="11" creationId="{0EC70DC0-FAE6-9BE9-F38C-3F0EFD8D3DB6}"/>
          </ac:picMkLst>
        </pc:picChg>
        <pc:picChg chg="del">
          <ac:chgData name="Pierre, Kelley" userId="S::kelley.pierre@accenture.com::75eb27c0-8a09-47b9-b68e-9e48882da6a6" providerId="AD" clId="Web-{35B01A80-11B8-443D-1638-9195945C7CC3}" dt="2022-07-05T19:17:27.189" v="78"/>
          <ac:picMkLst>
            <pc:docMk/>
            <pc:sldMk cId="2530484429" sldId="260"/>
            <ac:picMk id="13" creationId="{250C5827-AC62-42D5-80FD-9FDAF9E82F55}"/>
          </ac:picMkLst>
        </pc:picChg>
        <pc:picChg chg="add del mod">
          <ac:chgData name="Pierre, Kelley" userId="S::kelley.pierre@accenture.com::75eb27c0-8a09-47b9-b68e-9e48882da6a6" providerId="AD" clId="Web-{35B01A80-11B8-443D-1638-9195945C7CC3}" dt="2022-07-05T19:16:30.453" v="74"/>
          <ac:picMkLst>
            <pc:docMk/>
            <pc:sldMk cId="2530484429" sldId="260"/>
            <ac:picMk id="14" creationId="{E1A55A9D-401B-B883-6424-12A19C7C26BA}"/>
          </ac:picMkLst>
        </pc:picChg>
        <pc:picChg chg="add mod">
          <ac:chgData name="Pierre, Kelley" userId="S::kelley.pierre@accenture.com::75eb27c0-8a09-47b9-b68e-9e48882da6a6" providerId="AD" clId="Web-{35B01A80-11B8-443D-1638-9195945C7CC3}" dt="2022-07-05T19:16:49.469" v="77" actId="1076"/>
          <ac:picMkLst>
            <pc:docMk/>
            <pc:sldMk cId="2530484429" sldId="260"/>
            <ac:picMk id="15" creationId="{9AAECF3F-1807-BE6E-5C90-D1C365FC2510}"/>
          </ac:picMkLst>
        </pc:picChg>
        <pc:picChg chg="del">
          <ac:chgData name="Pierre, Kelley" userId="S::kelley.pierre@accenture.com::75eb27c0-8a09-47b9-b68e-9e48882da6a6" providerId="AD" clId="Web-{35B01A80-11B8-443D-1638-9195945C7CC3}" dt="2022-07-05T18:50:37.410" v="40"/>
          <ac:picMkLst>
            <pc:docMk/>
            <pc:sldMk cId="2530484429" sldId="260"/>
            <ac:picMk id="16" creationId="{840137F6-57F1-4D3B-8EA7-D625BEA04374}"/>
          </ac:picMkLst>
        </pc:picChg>
        <pc:picChg chg="add mod">
          <ac:chgData name="Pierre, Kelley" userId="S::kelley.pierre@accenture.com::75eb27c0-8a09-47b9-b68e-9e48882da6a6" providerId="AD" clId="Web-{35B01A80-11B8-443D-1638-9195945C7CC3}" dt="2022-07-05T19:17:40.439" v="81" actId="1076"/>
          <ac:picMkLst>
            <pc:docMk/>
            <pc:sldMk cId="2530484429" sldId="260"/>
            <ac:picMk id="17" creationId="{ED4115B1-84E4-2663-8E70-73DFF445146D}"/>
          </ac:picMkLst>
        </pc:picChg>
        <pc:picChg chg="add del mod">
          <ac:chgData name="Pierre, Kelley" userId="S::kelley.pierre@accenture.com::75eb27c0-8a09-47b9-b68e-9e48882da6a6" providerId="AD" clId="Web-{35B01A80-11B8-443D-1638-9195945C7CC3}" dt="2022-07-05T19:24:17.607" v="92"/>
          <ac:picMkLst>
            <pc:docMk/>
            <pc:sldMk cId="2530484429" sldId="260"/>
            <ac:picMk id="18" creationId="{0DF875D4-412F-E617-C6D3-6BBC7AFD0F4E}"/>
          </ac:picMkLst>
        </pc:picChg>
        <pc:picChg chg="add mod">
          <ac:chgData name="Pierre, Kelley" userId="S::kelley.pierre@accenture.com::75eb27c0-8a09-47b9-b68e-9e48882da6a6" providerId="AD" clId="Web-{35B01A80-11B8-443D-1638-9195945C7CC3}" dt="2022-07-05T19:24:38.638" v="96" actId="1076"/>
          <ac:picMkLst>
            <pc:docMk/>
            <pc:sldMk cId="2530484429" sldId="260"/>
            <ac:picMk id="19" creationId="{1B723946-5904-CF81-DD0B-C5265695A2D1}"/>
          </ac:picMkLst>
        </pc:picChg>
      </pc:sldChg>
      <pc:sldChg chg="addSp delSp modSp">
        <pc:chgData name="Pierre, Kelley" userId="S::kelley.pierre@accenture.com::75eb27c0-8a09-47b9-b68e-9e48882da6a6" providerId="AD" clId="Web-{35B01A80-11B8-443D-1638-9195945C7CC3}" dt="2022-07-05T19:53:50.394" v="120" actId="1076"/>
        <pc:sldMkLst>
          <pc:docMk/>
          <pc:sldMk cId="4194863863" sldId="261"/>
        </pc:sldMkLst>
        <pc:picChg chg="add mod">
          <ac:chgData name="Pierre, Kelley" userId="S::kelley.pierre@accenture.com::75eb27c0-8a09-47b9-b68e-9e48882da6a6" providerId="AD" clId="Web-{35B01A80-11B8-443D-1638-9195945C7CC3}" dt="2022-07-05T19:39:23.849" v="100" actId="1076"/>
          <ac:picMkLst>
            <pc:docMk/>
            <pc:sldMk cId="4194863863" sldId="261"/>
            <ac:picMk id="2" creationId="{3FD04CE9-3D01-8573-C146-04B6B9D0ADDE}"/>
          </ac:picMkLst>
        </pc:picChg>
        <pc:picChg chg="del">
          <ac:chgData name="Pierre, Kelley" userId="S::kelley.pierre@accenture.com::75eb27c0-8a09-47b9-b68e-9e48882da6a6" providerId="AD" clId="Web-{35B01A80-11B8-443D-1638-9195945C7CC3}" dt="2022-07-05T19:38:56.614" v="97"/>
          <ac:picMkLst>
            <pc:docMk/>
            <pc:sldMk cId="4194863863" sldId="261"/>
            <ac:picMk id="3" creationId="{875AF489-547A-426A-9B48-68FC5955723E}"/>
          </ac:picMkLst>
        </pc:picChg>
        <pc:picChg chg="add mod">
          <ac:chgData name="Pierre, Kelley" userId="S::kelley.pierre@accenture.com::75eb27c0-8a09-47b9-b68e-9e48882da6a6" providerId="AD" clId="Web-{35B01A80-11B8-443D-1638-9195945C7CC3}" dt="2022-07-05T19:40:34.133" v="104" actId="1076"/>
          <ac:picMkLst>
            <pc:docMk/>
            <pc:sldMk cId="4194863863" sldId="261"/>
            <ac:picMk id="4" creationId="{2712B90F-B0ED-9C6C-76F6-95607A62BA1D}"/>
          </ac:picMkLst>
        </pc:picChg>
        <pc:picChg chg="del">
          <ac:chgData name="Pierre, Kelley" userId="S::kelley.pierre@accenture.com::75eb27c0-8a09-47b9-b68e-9e48882da6a6" providerId="AD" clId="Web-{35B01A80-11B8-443D-1638-9195945C7CC3}" dt="2022-07-05T19:40:22.367" v="101"/>
          <ac:picMkLst>
            <pc:docMk/>
            <pc:sldMk cId="4194863863" sldId="261"/>
            <ac:picMk id="5" creationId="{458F6EDA-A504-4E6E-B457-DE2491D7DA75}"/>
          </ac:picMkLst>
        </pc:picChg>
        <pc:picChg chg="add mod">
          <ac:chgData name="Pierre, Kelley" userId="S::kelley.pierre@accenture.com::75eb27c0-8a09-47b9-b68e-9e48882da6a6" providerId="AD" clId="Web-{35B01A80-11B8-443D-1638-9195945C7CC3}" dt="2022-07-05T19:47:07.552" v="108" actId="1076"/>
          <ac:picMkLst>
            <pc:docMk/>
            <pc:sldMk cId="4194863863" sldId="261"/>
            <ac:picMk id="6" creationId="{8E7CADE7-5FD1-F3C5-E6B0-746A865D4444}"/>
          </ac:picMkLst>
        </pc:picChg>
        <pc:picChg chg="del">
          <ac:chgData name="Pierre, Kelley" userId="S::kelley.pierre@accenture.com::75eb27c0-8a09-47b9-b68e-9e48882da6a6" providerId="AD" clId="Web-{35B01A80-11B8-443D-1638-9195945C7CC3}" dt="2022-07-05T19:46:49.411" v="105"/>
          <ac:picMkLst>
            <pc:docMk/>
            <pc:sldMk cId="4194863863" sldId="261"/>
            <ac:picMk id="8" creationId="{8B253ED2-8119-4B7C-9BD8-A17F448A6EDE}"/>
          </ac:picMkLst>
        </pc:picChg>
        <pc:picChg chg="del">
          <ac:chgData name="Pierre, Kelley" userId="S::kelley.pierre@accenture.com::75eb27c0-8a09-47b9-b68e-9e48882da6a6" providerId="AD" clId="Web-{35B01A80-11B8-443D-1638-9195945C7CC3}" dt="2022-07-05T19:50:56.497" v="109"/>
          <ac:picMkLst>
            <pc:docMk/>
            <pc:sldMk cId="4194863863" sldId="261"/>
            <ac:picMk id="10" creationId="{94BB4C23-1DDD-4603-ADEE-EE78219A024E}"/>
          </ac:picMkLst>
        </pc:picChg>
        <pc:picChg chg="add mod">
          <ac:chgData name="Pierre, Kelley" userId="S::kelley.pierre@accenture.com::75eb27c0-8a09-47b9-b68e-9e48882da6a6" providerId="AD" clId="Web-{35B01A80-11B8-443D-1638-9195945C7CC3}" dt="2022-07-05T19:51:07.935" v="112" actId="1076"/>
          <ac:picMkLst>
            <pc:docMk/>
            <pc:sldMk cId="4194863863" sldId="261"/>
            <ac:picMk id="11" creationId="{F40B56C2-DFA0-AC49-16D7-3CECE4466EA7}"/>
          </ac:picMkLst>
        </pc:picChg>
        <pc:picChg chg="add mod">
          <ac:chgData name="Pierre, Kelley" userId="S::kelley.pierre@accenture.com::75eb27c0-8a09-47b9-b68e-9e48882da6a6" providerId="AD" clId="Web-{35B01A80-11B8-443D-1638-9195945C7CC3}" dt="2022-07-05T19:52:47.517" v="116" actId="1076"/>
          <ac:picMkLst>
            <pc:docMk/>
            <pc:sldMk cId="4194863863" sldId="261"/>
            <ac:picMk id="12" creationId="{8524702A-483B-78E4-6E58-8EA8D61B632F}"/>
          </ac:picMkLst>
        </pc:picChg>
        <pc:picChg chg="del">
          <ac:chgData name="Pierre, Kelley" userId="S::kelley.pierre@accenture.com::75eb27c0-8a09-47b9-b68e-9e48882da6a6" providerId="AD" clId="Web-{35B01A80-11B8-443D-1638-9195945C7CC3}" dt="2022-07-05T19:52:31.204" v="113"/>
          <ac:picMkLst>
            <pc:docMk/>
            <pc:sldMk cId="4194863863" sldId="261"/>
            <ac:picMk id="13" creationId="{250C5827-AC62-42D5-80FD-9FDAF9E82F55}"/>
          </ac:picMkLst>
        </pc:picChg>
        <pc:picChg chg="add mod">
          <ac:chgData name="Pierre, Kelley" userId="S::kelley.pierre@accenture.com::75eb27c0-8a09-47b9-b68e-9e48882da6a6" providerId="AD" clId="Web-{35B01A80-11B8-443D-1638-9195945C7CC3}" dt="2022-07-05T19:53:50.394" v="120" actId="1076"/>
          <ac:picMkLst>
            <pc:docMk/>
            <pc:sldMk cId="4194863863" sldId="261"/>
            <ac:picMk id="14" creationId="{174247C2-8D73-30C6-FC15-2B7F6250274C}"/>
          </ac:picMkLst>
        </pc:picChg>
        <pc:picChg chg="del">
          <ac:chgData name="Pierre, Kelley" userId="S::kelley.pierre@accenture.com::75eb27c0-8a09-47b9-b68e-9e48882da6a6" providerId="AD" clId="Web-{35B01A80-11B8-443D-1638-9195945C7CC3}" dt="2022-07-05T19:52:56.845" v="117"/>
          <ac:picMkLst>
            <pc:docMk/>
            <pc:sldMk cId="4194863863" sldId="261"/>
            <ac:picMk id="16" creationId="{840137F6-57F1-4D3B-8EA7-D625BEA04374}"/>
          </ac:picMkLst>
        </pc:picChg>
      </pc:sldChg>
      <pc:sldChg chg="addSp delSp modSp">
        <pc:chgData name="Pierre, Kelley" userId="S::kelley.pierre@accenture.com::75eb27c0-8a09-47b9-b68e-9e48882da6a6" providerId="AD" clId="Web-{35B01A80-11B8-443D-1638-9195945C7CC3}" dt="2022-07-05T20:14:33.763" v="140" actId="14100"/>
        <pc:sldMkLst>
          <pc:docMk/>
          <pc:sldMk cId="2732365266" sldId="262"/>
        </pc:sldMkLst>
        <pc:picChg chg="add del mod">
          <ac:chgData name="Pierre, Kelley" userId="S::kelley.pierre@accenture.com::75eb27c0-8a09-47b9-b68e-9e48882da6a6" providerId="AD" clId="Web-{35B01A80-11B8-443D-1638-9195945C7CC3}" dt="2022-07-05T19:19:27.145" v="82"/>
          <ac:picMkLst>
            <pc:docMk/>
            <pc:sldMk cId="2732365266" sldId="262"/>
            <ac:picMk id="2" creationId="{874045FF-8B89-3901-7BE6-F38979509AC8}"/>
          </ac:picMkLst>
        </pc:picChg>
        <pc:picChg chg="add mod">
          <ac:chgData name="Pierre, Kelley" userId="S::kelley.pierre@accenture.com::75eb27c0-8a09-47b9-b68e-9e48882da6a6" providerId="AD" clId="Web-{35B01A80-11B8-443D-1638-9195945C7CC3}" dt="2022-07-05T20:06:20.653" v="124" actId="1076"/>
          <ac:picMkLst>
            <pc:docMk/>
            <pc:sldMk cId="2732365266" sldId="262"/>
            <ac:picMk id="2" creationId="{93FD339E-DD89-54DE-3736-A448B99DE6BF}"/>
          </ac:picMkLst>
        </pc:picChg>
        <pc:picChg chg="add mod">
          <ac:chgData name="Pierre, Kelley" userId="S::kelley.pierre@accenture.com::75eb27c0-8a09-47b9-b68e-9e48882da6a6" providerId="AD" clId="Web-{35B01A80-11B8-443D-1638-9195945C7CC3}" dt="2022-07-05T20:09:12.424" v="132" actId="1076"/>
          <ac:picMkLst>
            <pc:docMk/>
            <pc:sldMk cId="2732365266" sldId="262"/>
            <ac:picMk id="3" creationId="{440AF7BB-97C8-4671-EB41-73FEEA30BA0B}"/>
          </ac:picMkLst>
        </pc:picChg>
        <pc:picChg chg="del">
          <ac:chgData name="Pierre, Kelley" userId="S::kelley.pierre@accenture.com::75eb27c0-8a09-47b9-b68e-9e48882da6a6" providerId="AD" clId="Web-{35B01A80-11B8-443D-1638-9195945C7CC3}" dt="2022-07-05T18:56:19.029" v="50"/>
          <ac:picMkLst>
            <pc:docMk/>
            <pc:sldMk cId="2732365266" sldId="262"/>
            <ac:picMk id="3" creationId="{875AF489-547A-426A-9B48-68FC5955723E}"/>
          </ac:picMkLst>
        </pc:picChg>
        <pc:picChg chg="add mod">
          <ac:chgData name="Pierre, Kelley" userId="S::kelley.pierre@accenture.com::75eb27c0-8a09-47b9-b68e-9e48882da6a6" providerId="AD" clId="Web-{35B01A80-11B8-443D-1638-9195945C7CC3}" dt="2022-07-05T18:57:35.625" v="56" actId="1076"/>
          <ac:picMkLst>
            <pc:docMk/>
            <pc:sldMk cId="2732365266" sldId="262"/>
            <ac:picMk id="4" creationId="{405AF6F3-69E7-E863-8721-AF211ADCE904}"/>
          </ac:picMkLst>
        </pc:picChg>
        <pc:picChg chg="del">
          <ac:chgData name="Pierre, Kelley" userId="S::kelley.pierre@accenture.com::75eb27c0-8a09-47b9-b68e-9e48882da6a6" providerId="AD" clId="Web-{35B01A80-11B8-443D-1638-9195945C7CC3}" dt="2022-07-05T18:57:26.031" v="53"/>
          <ac:picMkLst>
            <pc:docMk/>
            <pc:sldMk cId="2732365266" sldId="262"/>
            <ac:picMk id="5" creationId="{458F6EDA-A504-4E6E-B457-DE2491D7DA75}"/>
          </ac:picMkLst>
        </pc:picChg>
        <pc:picChg chg="add mod">
          <ac:chgData name="Pierre, Kelley" userId="S::kelley.pierre@accenture.com::75eb27c0-8a09-47b9-b68e-9e48882da6a6" providerId="AD" clId="Web-{35B01A80-11B8-443D-1638-9195945C7CC3}" dt="2022-07-05T20:11:06.819" v="136" actId="1076"/>
          <ac:picMkLst>
            <pc:docMk/>
            <pc:sldMk cId="2732365266" sldId="262"/>
            <ac:picMk id="5" creationId="{C3922B8D-6D00-B995-319F-6BC73FAD5F62}"/>
          </ac:picMkLst>
        </pc:picChg>
        <pc:picChg chg="add mod">
          <ac:chgData name="Pierre, Kelley" userId="S::kelley.pierre@accenture.com::75eb27c0-8a09-47b9-b68e-9e48882da6a6" providerId="AD" clId="Web-{35B01A80-11B8-443D-1638-9195945C7CC3}" dt="2022-07-05T19:19:48.505" v="85" actId="1076"/>
          <ac:picMkLst>
            <pc:docMk/>
            <pc:sldMk cId="2732365266" sldId="262"/>
            <ac:picMk id="6" creationId="{3E4F1ADB-63E7-451B-57D5-474ABF4B203C}"/>
          </ac:picMkLst>
        </pc:picChg>
        <pc:picChg chg="del">
          <ac:chgData name="Pierre, Kelley" userId="S::kelley.pierre@accenture.com::75eb27c0-8a09-47b9-b68e-9e48882da6a6" providerId="AD" clId="Web-{35B01A80-11B8-443D-1638-9195945C7CC3}" dt="2022-07-05T20:06:11.278" v="121"/>
          <ac:picMkLst>
            <pc:docMk/>
            <pc:sldMk cId="2732365266" sldId="262"/>
            <ac:picMk id="8" creationId="{8B253ED2-8119-4B7C-9BD8-A17F448A6EDE}"/>
          </ac:picMkLst>
        </pc:picChg>
        <pc:picChg chg="del">
          <ac:chgData name="Pierre, Kelley" userId="S::kelley.pierre@accenture.com::75eb27c0-8a09-47b9-b68e-9e48882da6a6" providerId="AD" clId="Web-{35B01A80-11B8-443D-1638-9195945C7CC3}" dt="2022-07-05T20:08:39.376" v="126"/>
          <ac:picMkLst>
            <pc:docMk/>
            <pc:sldMk cId="2732365266" sldId="262"/>
            <ac:picMk id="10" creationId="{94BB4C23-1DDD-4603-ADEE-EE78219A024E}"/>
          </ac:picMkLst>
        </pc:picChg>
        <pc:picChg chg="add mod">
          <ac:chgData name="Pierre, Kelley" userId="S::kelley.pierre@accenture.com::75eb27c0-8a09-47b9-b68e-9e48882da6a6" providerId="AD" clId="Web-{35B01A80-11B8-443D-1638-9195945C7CC3}" dt="2022-07-05T20:14:33.763" v="140" actId="14100"/>
          <ac:picMkLst>
            <pc:docMk/>
            <pc:sldMk cId="2732365266" sldId="262"/>
            <ac:picMk id="11" creationId="{84D2AD0C-F274-82CB-6EA2-F37D5A975171}"/>
          </ac:picMkLst>
        </pc:picChg>
        <pc:picChg chg="del">
          <ac:chgData name="Pierre, Kelley" userId="S::kelley.pierre@accenture.com::75eb27c0-8a09-47b9-b68e-9e48882da6a6" providerId="AD" clId="Web-{35B01A80-11B8-443D-1638-9195945C7CC3}" dt="2022-07-05T20:09:07.299" v="131"/>
          <ac:picMkLst>
            <pc:docMk/>
            <pc:sldMk cId="2732365266" sldId="262"/>
            <ac:picMk id="13" creationId="{250C5827-AC62-42D5-80FD-9FDAF9E82F55}"/>
          </ac:picMkLst>
        </pc:picChg>
        <pc:picChg chg="del">
          <ac:chgData name="Pierre, Kelley" userId="S::kelley.pierre@accenture.com::75eb27c0-8a09-47b9-b68e-9e48882da6a6" providerId="AD" clId="Web-{35B01A80-11B8-443D-1638-9195945C7CC3}" dt="2022-07-05T20:10:35.380" v="133"/>
          <ac:picMkLst>
            <pc:docMk/>
            <pc:sldMk cId="2732365266" sldId="262"/>
            <ac:picMk id="16" creationId="{840137F6-57F1-4D3B-8EA7-D625BEA04374}"/>
          </ac:picMkLst>
        </pc:picChg>
      </pc:sldChg>
      <pc:sldChg chg="addSp delSp modSp">
        <pc:chgData name="Pierre, Kelley" userId="S::kelley.pierre@accenture.com::75eb27c0-8a09-47b9-b68e-9e48882da6a6" providerId="AD" clId="Web-{35B01A80-11B8-443D-1638-9195945C7CC3}" dt="2022-07-05T20:41:37.660" v="169" actId="1076"/>
        <pc:sldMkLst>
          <pc:docMk/>
          <pc:sldMk cId="3524889860" sldId="263"/>
        </pc:sldMkLst>
        <pc:picChg chg="add mod">
          <ac:chgData name="Pierre, Kelley" userId="S::kelley.pierre@accenture.com::75eb27c0-8a09-47b9-b68e-9e48882da6a6" providerId="AD" clId="Web-{35B01A80-11B8-443D-1638-9195945C7CC3}" dt="2022-07-05T20:15:48.234" v="144" actId="1076"/>
          <ac:picMkLst>
            <pc:docMk/>
            <pc:sldMk cId="3524889860" sldId="263"/>
            <ac:picMk id="2" creationId="{4B9BCF31-C305-E274-98F8-910CFA5D5383}"/>
          </ac:picMkLst>
        </pc:picChg>
        <pc:picChg chg="del">
          <ac:chgData name="Pierre, Kelley" userId="S::kelley.pierre@accenture.com::75eb27c0-8a09-47b9-b68e-9e48882da6a6" providerId="AD" clId="Web-{35B01A80-11B8-443D-1638-9195945C7CC3}" dt="2022-07-05T20:15:38.624" v="141"/>
          <ac:picMkLst>
            <pc:docMk/>
            <pc:sldMk cId="3524889860" sldId="263"/>
            <ac:picMk id="3" creationId="{875AF489-547A-426A-9B48-68FC5955723E}"/>
          </ac:picMkLst>
        </pc:picChg>
        <pc:picChg chg="add mod">
          <ac:chgData name="Pierre, Kelley" userId="S::kelley.pierre@accenture.com::75eb27c0-8a09-47b9-b68e-9e48882da6a6" providerId="AD" clId="Web-{35B01A80-11B8-443D-1638-9195945C7CC3}" dt="2022-07-05T20:18:03.364" v="149" actId="1076"/>
          <ac:picMkLst>
            <pc:docMk/>
            <pc:sldMk cId="3524889860" sldId="263"/>
            <ac:picMk id="4" creationId="{1DF9D291-36A8-C386-DDE5-988EA09E75B0}"/>
          </ac:picMkLst>
        </pc:picChg>
        <pc:picChg chg="del">
          <ac:chgData name="Pierre, Kelley" userId="S::kelley.pierre@accenture.com::75eb27c0-8a09-47b9-b68e-9e48882da6a6" providerId="AD" clId="Web-{35B01A80-11B8-443D-1638-9195945C7CC3}" dt="2022-07-05T20:17:48.926" v="145"/>
          <ac:picMkLst>
            <pc:docMk/>
            <pc:sldMk cId="3524889860" sldId="263"/>
            <ac:picMk id="5" creationId="{458F6EDA-A504-4E6E-B457-DE2491D7DA75}"/>
          </ac:picMkLst>
        </pc:picChg>
        <pc:picChg chg="add mod">
          <ac:chgData name="Pierre, Kelley" userId="S::kelley.pierre@accenture.com::75eb27c0-8a09-47b9-b68e-9e48882da6a6" providerId="AD" clId="Web-{35B01A80-11B8-443D-1638-9195945C7CC3}" dt="2022-07-05T20:20:22.524" v="153" actId="1076"/>
          <ac:picMkLst>
            <pc:docMk/>
            <pc:sldMk cId="3524889860" sldId="263"/>
            <ac:picMk id="6" creationId="{4B0DA577-54C2-047D-92F2-AD54FAFE6744}"/>
          </ac:picMkLst>
        </pc:picChg>
        <pc:picChg chg="del">
          <ac:chgData name="Pierre, Kelley" userId="S::kelley.pierre@accenture.com::75eb27c0-8a09-47b9-b68e-9e48882da6a6" providerId="AD" clId="Web-{35B01A80-11B8-443D-1638-9195945C7CC3}" dt="2022-07-05T20:20:09.712" v="150"/>
          <ac:picMkLst>
            <pc:docMk/>
            <pc:sldMk cId="3524889860" sldId="263"/>
            <ac:picMk id="8" creationId="{8B253ED2-8119-4B7C-9BD8-A17F448A6EDE}"/>
          </ac:picMkLst>
        </pc:picChg>
        <pc:picChg chg="del">
          <ac:chgData name="Pierre, Kelley" userId="S::kelley.pierre@accenture.com::75eb27c0-8a09-47b9-b68e-9e48882da6a6" providerId="AD" clId="Web-{35B01A80-11B8-443D-1638-9195945C7CC3}" dt="2022-07-05T20:34:39.256" v="154"/>
          <ac:picMkLst>
            <pc:docMk/>
            <pc:sldMk cId="3524889860" sldId="263"/>
            <ac:picMk id="10" creationId="{94BB4C23-1DDD-4603-ADEE-EE78219A024E}"/>
          </ac:picMkLst>
        </pc:picChg>
        <pc:picChg chg="add mod">
          <ac:chgData name="Pierre, Kelley" userId="S::kelley.pierre@accenture.com::75eb27c0-8a09-47b9-b68e-9e48882da6a6" providerId="AD" clId="Web-{35B01A80-11B8-443D-1638-9195945C7CC3}" dt="2022-07-05T20:34:47.647" v="157" actId="1076"/>
          <ac:picMkLst>
            <pc:docMk/>
            <pc:sldMk cId="3524889860" sldId="263"/>
            <ac:picMk id="11" creationId="{D5442F18-F00B-12E1-04B7-1931021D61EA}"/>
          </ac:picMkLst>
        </pc:picChg>
        <pc:picChg chg="add del mod">
          <ac:chgData name="Pierre, Kelley" userId="S::kelley.pierre@accenture.com::75eb27c0-8a09-47b9-b68e-9e48882da6a6" providerId="AD" clId="Web-{35B01A80-11B8-443D-1638-9195945C7CC3}" dt="2022-07-05T20:35:51.977" v="164"/>
          <ac:picMkLst>
            <pc:docMk/>
            <pc:sldMk cId="3524889860" sldId="263"/>
            <ac:picMk id="12" creationId="{B277BCA6-B0B9-BC81-FE9B-B9DA4F93C9DC}"/>
          </ac:picMkLst>
        </pc:picChg>
        <pc:picChg chg="del">
          <ac:chgData name="Pierre, Kelley" userId="S::kelley.pierre@accenture.com::75eb27c0-8a09-47b9-b68e-9e48882da6a6" providerId="AD" clId="Web-{35B01A80-11B8-443D-1638-9195945C7CC3}" dt="2022-07-05T20:35:02.225" v="158"/>
          <ac:picMkLst>
            <pc:docMk/>
            <pc:sldMk cId="3524889860" sldId="263"/>
            <ac:picMk id="13" creationId="{250C5827-AC62-42D5-80FD-9FDAF9E82F55}"/>
          </ac:picMkLst>
        </pc:picChg>
        <pc:picChg chg="add mod">
          <ac:chgData name="Pierre, Kelley" userId="S::kelley.pierre@accenture.com::75eb27c0-8a09-47b9-b68e-9e48882da6a6" providerId="AD" clId="Web-{35B01A80-11B8-443D-1638-9195945C7CC3}" dt="2022-07-05T20:35:57.790" v="165" actId="1076"/>
          <ac:picMkLst>
            <pc:docMk/>
            <pc:sldMk cId="3524889860" sldId="263"/>
            <ac:picMk id="14" creationId="{A1C53AD7-9228-B194-9A8D-FB2BD3DCE5DB}"/>
          </ac:picMkLst>
        </pc:picChg>
        <pc:picChg chg="add mod">
          <ac:chgData name="Pierre, Kelley" userId="S::kelley.pierre@accenture.com::75eb27c0-8a09-47b9-b68e-9e48882da6a6" providerId="AD" clId="Web-{35B01A80-11B8-443D-1638-9195945C7CC3}" dt="2022-07-05T20:41:37.660" v="169" actId="1076"/>
          <ac:picMkLst>
            <pc:docMk/>
            <pc:sldMk cId="3524889860" sldId="263"/>
            <ac:picMk id="15" creationId="{C0B45A28-848A-1833-9319-027DC5DFFC04}"/>
          </ac:picMkLst>
        </pc:picChg>
        <pc:picChg chg="del">
          <ac:chgData name="Pierre, Kelley" userId="S::kelley.pierre@accenture.com::75eb27c0-8a09-47b9-b68e-9e48882da6a6" providerId="AD" clId="Web-{35B01A80-11B8-443D-1638-9195945C7CC3}" dt="2022-07-05T20:36:02.415" v="166"/>
          <ac:picMkLst>
            <pc:docMk/>
            <pc:sldMk cId="3524889860" sldId="263"/>
            <ac:picMk id="16" creationId="{840137F6-57F1-4D3B-8EA7-D625BEA04374}"/>
          </ac:picMkLst>
        </pc:picChg>
      </pc:sldChg>
      <pc:sldChg chg="addSp delSp modSp">
        <pc:chgData name="Pierre, Kelley" userId="S::kelley.pierre@accenture.com::75eb27c0-8a09-47b9-b68e-9e48882da6a6" providerId="AD" clId="Web-{35B01A80-11B8-443D-1638-9195945C7CC3}" dt="2022-07-05T21:21:08.676" v="198" actId="1076"/>
        <pc:sldMkLst>
          <pc:docMk/>
          <pc:sldMk cId="127420792" sldId="264"/>
        </pc:sldMkLst>
        <pc:picChg chg="add del mod">
          <ac:chgData name="Pierre, Kelley" userId="S::kelley.pierre@accenture.com::75eb27c0-8a09-47b9-b68e-9e48882da6a6" providerId="AD" clId="Web-{35B01A80-11B8-443D-1638-9195945C7CC3}" dt="2022-07-05T18:39:13.376" v="18"/>
          <ac:picMkLst>
            <pc:docMk/>
            <pc:sldMk cId="127420792" sldId="264"/>
            <ac:picMk id="2" creationId="{3BF0A0A0-DEFB-D51F-D181-9B3B98E5D971}"/>
          </ac:picMkLst>
        </pc:picChg>
        <pc:picChg chg="add del mod">
          <ac:chgData name="Pierre, Kelley" userId="S::kelley.pierre@accenture.com::75eb27c0-8a09-47b9-b68e-9e48882da6a6" providerId="AD" clId="Web-{35B01A80-11B8-443D-1638-9195945C7CC3}" dt="2022-07-05T20:44:46.323" v="175"/>
          <ac:picMkLst>
            <pc:docMk/>
            <pc:sldMk cId="127420792" sldId="264"/>
            <ac:picMk id="2" creationId="{98306C45-D95F-51A3-D961-D131EC90AC3E}"/>
          </ac:picMkLst>
        </pc:picChg>
        <pc:picChg chg="add mod">
          <ac:chgData name="Pierre, Kelley" userId="S::kelley.pierre@accenture.com::75eb27c0-8a09-47b9-b68e-9e48882da6a6" providerId="AD" clId="Web-{35B01A80-11B8-443D-1638-9195945C7CC3}" dt="2022-07-05T20:52:57.542" v="182" actId="1076"/>
          <ac:picMkLst>
            <pc:docMk/>
            <pc:sldMk cId="127420792" sldId="264"/>
            <ac:picMk id="3" creationId="{77F9FE71-C72A-CD46-8301-2FA4FEE686F2}"/>
          </ac:picMkLst>
        </pc:picChg>
        <pc:picChg chg="del">
          <ac:chgData name="Pierre, Kelley" userId="S::kelley.pierre@accenture.com::75eb27c0-8a09-47b9-b68e-9e48882da6a6" providerId="AD" clId="Web-{35B01A80-11B8-443D-1638-9195945C7CC3}" dt="2022-07-05T18:39:18.141" v="19"/>
          <ac:picMkLst>
            <pc:docMk/>
            <pc:sldMk cId="127420792" sldId="264"/>
            <ac:picMk id="3" creationId="{875AF489-547A-426A-9B48-68FC5955723E}"/>
          </ac:picMkLst>
        </pc:picChg>
        <pc:picChg chg="add del mod">
          <ac:chgData name="Pierre, Kelley" userId="S::kelley.pierre@accenture.com::75eb27c0-8a09-47b9-b68e-9e48882da6a6" providerId="AD" clId="Web-{35B01A80-11B8-443D-1638-9195945C7CC3}" dt="2022-07-05T18:39:59.080" v="24"/>
          <ac:picMkLst>
            <pc:docMk/>
            <pc:sldMk cId="127420792" sldId="264"/>
            <ac:picMk id="4" creationId="{3D458983-5ACF-784F-3960-51EB144A106C}"/>
          </ac:picMkLst>
        </pc:picChg>
        <pc:picChg chg="add mod">
          <ac:chgData name="Pierre, Kelley" userId="S::kelley.pierre@accenture.com::75eb27c0-8a09-47b9-b68e-9e48882da6a6" providerId="AD" clId="Web-{35B01A80-11B8-443D-1638-9195945C7CC3}" dt="2022-07-05T21:10:05.764" v="187" actId="1076"/>
          <ac:picMkLst>
            <pc:docMk/>
            <pc:sldMk cId="127420792" sldId="264"/>
            <ac:picMk id="4" creationId="{427D265A-5E33-9F45-856F-C58A1DE4C14B}"/>
          </ac:picMkLst>
        </pc:picChg>
        <pc:picChg chg="del">
          <ac:chgData name="Pierre, Kelley" userId="S::kelley.pierre@accenture.com::75eb27c0-8a09-47b9-b68e-9e48882da6a6" providerId="AD" clId="Web-{35B01A80-11B8-443D-1638-9195945C7CC3}" dt="2022-07-05T20:44:25.056" v="170"/>
          <ac:picMkLst>
            <pc:docMk/>
            <pc:sldMk cId="127420792" sldId="264"/>
            <ac:picMk id="5" creationId="{458F6EDA-A504-4E6E-B457-DE2491D7DA75}"/>
          </ac:picMkLst>
        </pc:picChg>
        <pc:picChg chg="add del mod">
          <ac:chgData name="Pierre, Kelley" userId="S::kelley.pierre@accenture.com::75eb27c0-8a09-47b9-b68e-9e48882da6a6" providerId="AD" clId="Web-{35B01A80-11B8-443D-1638-9195945C7CC3}" dt="2022-07-05T20:52:40.229" v="178"/>
          <ac:picMkLst>
            <pc:docMk/>
            <pc:sldMk cId="127420792" sldId="264"/>
            <ac:picMk id="6" creationId="{8A5112CF-FEF7-2809-FC33-81C3FC9BBB77}"/>
          </ac:picMkLst>
        </pc:picChg>
        <pc:picChg chg="del">
          <ac:chgData name="Pierre, Kelley" userId="S::kelley.pierre@accenture.com::75eb27c0-8a09-47b9-b68e-9e48882da6a6" providerId="AD" clId="Web-{35B01A80-11B8-443D-1638-9195945C7CC3}" dt="2022-07-05T20:44:50.417" v="176"/>
          <ac:picMkLst>
            <pc:docMk/>
            <pc:sldMk cId="127420792" sldId="264"/>
            <ac:picMk id="8" creationId="{8B253ED2-8119-4B7C-9BD8-A17F448A6EDE}"/>
          </ac:picMkLst>
        </pc:picChg>
        <pc:picChg chg="del">
          <ac:chgData name="Pierre, Kelley" userId="S::kelley.pierre@accenture.com::75eb27c0-8a09-47b9-b68e-9e48882da6a6" providerId="AD" clId="Web-{35B01A80-11B8-443D-1638-9195945C7CC3}" dt="2022-07-05T20:54:33.530" v="183"/>
          <ac:picMkLst>
            <pc:docMk/>
            <pc:sldMk cId="127420792" sldId="264"/>
            <ac:picMk id="10" creationId="{94BB4C23-1DDD-4603-ADEE-EE78219A024E}"/>
          </ac:picMkLst>
        </pc:picChg>
        <pc:picChg chg="add mod">
          <ac:chgData name="Pierre, Kelley" userId="S::kelley.pierre@accenture.com::75eb27c0-8a09-47b9-b68e-9e48882da6a6" providerId="AD" clId="Web-{35B01A80-11B8-443D-1638-9195945C7CC3}" dt="2022-07-05T21:14:13.553" v="190" actId="1076"/>
          <ac:picMkLst>
            <pc:docMk/>
            <pc:sldMk cId="127420792" sldId="264"/>
            <ac:picMk id="11" creationId="{F185EEC7-3E24-0795-F469-BB4112715D26}"/>
          </ac:picMkLst>
        </pc:picChg>
        <pc:picChg chg="add mod">
          <ac:chgData name="Pierre, Kelley" userId="S::kelley.pierre@accenture.com::75eb27c0-8a09-47b9-b68e-9e48882da6a6" providerId="AD" clId="Web-{35B01A80-11B8-443D-1638-9195945C7CC3}" dt="2022-07-05T21:14:49.867" v="194" actId="1076"/>
          <ac:picMkLst>
            <pc:docMk/>
            <pc:sldMk cId="127420792" sldId="264"/>
            <ac:picMk id="12" creationId="{5087A68F-9C4C-2F45-CB75-E4EFFAC4DA73}"/>
          </ac:picMkLst>
        </pc:picChg>
        <pc:picChg chg="del">
          <ac:chgData name="Pierre, Kelley" userId="S::kelley.pierre@accenture.com::75eb27c0-8a09-47b9-b68e-9e48882da6a6" providerId="AD" clId="Web-{35B01A80-11B8-443D-1638-9195945C7CC3}" dt="2022-07-05T21:14:34.929" v="191"/>
          <ac:picMkLst>
            <pc:docMk/>
            <pc:sldMk cId="127420792" sldId="264"/>
            <ac:picMk id="13" creationId="{250C5827-AC62-42D5-80FD-9FDAF9E82F55}"/>
          </ac:picMkLst>
        </pc:picChg>
        <pc:picChg chg="add mod">
          <ac:chgData name="Pierre, Kelley" userId="S::kelley.pierre@accenture.com::75eb27c0-8a09-47b9-b68e-9e48882da6a6" providerId="AD" clId="Web-{35B01A80-11B8-443D-1638-9195945C7CC3}" dt="2022-07-05T21:21:08.676" v="198" actId="1076"/>
          <ac:picMkLst>
            <pc:docMk/>
            <pc:sldMk cId="127420792" sldId="264"/>
            <ac:picMk id="14" creationId="{99A1F1C9-6836-BD7C-17CC-46C6F3ECADD2}"/>
          </ac:picMkLst>
        </pc:picChg>
        <pc:picChg chg="del">
          <ac:chgData name="Pierre, Kelley" userId="S::kelley.pierre@accenture.com::75eb27c0-8a09-47b9-b68e-9e48882da6a6" providerId="AD" clId="Web-{35B01A80-11B8-443D-1638-9195945C7CC3}" dt="2022-07-05T21:14:54.758" v="195"/>
          <ac:picMkLst>
            <pc:docMk/>
            <pc:sldMk cId="127420792" sldId="264"/>
            <ac:picMk id="16" creationId="{840137F6-57F1-4D3B-8EA7-D625BEA04374}"/>
          </ac:picMkLst>
        </pc:picChg>
      </pc:sldChg>
      <pc:sldChg chg="addSp delSp modSp">
        <pc:chgData name="Pierre, Kelley" userId="S::kelley.pierre@accenture.com::75eb27c0-8a09-47b9-b68e-9e48882da6a6" providerId="AD" clId="Web-{35B01A80-11B8-443D-1638-9195945C7CC3}" dt="2022-07-05T21:50:45.735" v="222" actId="1076"/>
        <pc:sldMkLst>
          <pc:docMk/>
          <pc:sldMk cId="4270235263" sldId="265"/>
        </pc:sldMkLst>
        <pc:picChg chg="add mod">
          <ac:chgData name="Pierre, Kelley" userId="S::kelley.pierre@accenture.com::75eb27c0-8a09-47b9-b68e-9e48882da6a6" providerId="AD" clId="Web-{35B01A80-11B8-443D-1638-9195945C7CC3}" dt="2022-07-05T21:28:50.473" v="202" actId="1076"/>
          <ac:picMkLst>
            <pc:docMk/>
            <pc:sldMk cId="4270235263" sldId="265"/>
            <ac:picMk id="2" creationId="{26A7CC4A-1077-BD6A-D105-587F7A03F941}"/>
          </ac:picMkLst>
        </pc:picChg>
        <pc:picChg chg="del">
          <ac:chgData name="Pierre, Kelley" userId="S::kelley.pierre@accenture.com::75eb27c0-8a09-47b9-b68e-9e48882da6a6" providerId="AD" clId="Web-{35B01A80-11B8-443D-1638-9195945C7CC3}" dt="2022-07-05T21:28:38.972" v="199"/>
          <ac:picMkLst>
            <pc:docMk/>
            <pc:sldMk cId="4270235263" sldId="265"/>
            <ac:picMk id="3" creationId="{875AF489-547A-426A-9B48-68FC5955723E}"/>
          </ac:picMkLst>
        </pc:picChg>
        <pc:picChg chg="add mod">
          <ac:chgData name="Pierre, Kelley" userId="S::kelley.pierre@accenture.com::75eb27c0-8a09-47b9-b68e-9e48882da6a6" providerId="AD" clId="Web-{35B01A80-11B8-443D-1638-9195945C7CC3}" dt="2022-07-05T21:41:59.639" v="206" actId="1076"/>
          <ac:picMkLst>
            <pc:docMk/>
            <pc:sldMk cId="4270235263" sldId="265"/>
            <ac:picMk id="4" creationId="{44122C4C-3D7F-09ED-7F4D-2121DB7FC1BE}"/>
          </ac:picMkLst>
        </pc:picChg>
        <pc:picChg chg="del">
          <ac:chgData name="Pierre, Kelley" userId="S::kelley.pierre@accenture.com::75eb27c0-8a09-47b9-b68e-9e48882da6a6" providerId="AD" clId="Web-{35B01A80-11B8-443D-1638-9195945C7CC3}" dt="2022-07-05T21:28:57.082" v="203"/>
          <ac:picMkLst>
            <pc:docMk/>
            <pc:sldMk cId="4270235263" sldId="265"/>
            <ac:picMk id="5" creationId="{458F6EDA-A504-4E6E-B457-DE2491D7DA75}"/>
          </ac:picMkLst>
        </pc:picChg>
        <pc:picChg chg="add mod">
          <ac:chgData name="Pierre, Kelley" userId="S::kelley.pierre@accenture.com::75eb27c0-8a09-47b9-b68e-9e48882da6a6" providerId="AD" clId="Web-{35B01A80-11B8-443D-1638-9195945C7CC3}" dt="2022-07-05T21:43:20.298" v="210" actId="1076"/>
          <ac:picMkLst>
            <pc:docMk/>
            <pc:sldMk cId="4270235263" sldId="265"/>
            <ac:picMk id="6" creationId="{F48B5974-5CB9-EFC6-427E-587FBF166180}"/>
          </ac:picMkLst>
        </pc:picChg>
        <pc:picChg chg="del">
          <ac:chgData name="Pierre, Kelley" userId="S::kelley.pierre@accenture.com::75eb27c0-8a09-47b9-b68e-9e48882da6a6" providerId="AD" clId="Web-{35B01A80-11B8-443D-1638-9195945C7CC3}" dt="2022-07-05T21:42:18.921" v="207"/>
          <ac:picMkLst>
            <pc:docMk/>
            <pc:sldMk cId="4270235263" sldId="265"/>
            <ac:picMk id="8" creationId="{8B253ED2-8119-4B7C-9BD8-A17F448A6EDE}"/>
          </ac:picMkLst>
        </pc:picChg>
        <pc:picChg chg="del">
          <ac:chgData name="Pierre, Kelley" userId="S::kelley.pierre@accenture.com::75eb27c0-8a09-47b9-b68e-9e48882da6a6" providerId="AD" clId="Web-{35B01A80-11B8-443D-1638-9195945C7CC3}" dt="2022-07-05T21:49:01.685" v="211"/>
          <ac:picMkLst>
            <pc:docMk/>
            <pc:sldMk cId="4270235263" sldId="265"/>
            <ac:picMk id="10" creationId="{94BB4C23-1DDD-4603-ADEE-EE78219A024E}"/>
          </ac:picMkLst>
        </pc:picChg>
        <pc:picChg chg="add mod">
          <ac:chgData name="Pierre, Kelley" userId="S::kelley.pierre@accenture.com::75eb27c0-8a09-47b9-b68e-9e48882da6a6" providerId="AD" clId="Web-{35B01A80-11B8-443D-1638-9195945C7CC3}" dt="2022-07-05T21:49:11.388" v="214" actId="1076"/>
          <ac:picMkLst>
            <pc:docMk/>
            <pc:sldMk cId="4270235263" sldId="265"/>
            <ac:picMk id="11" creationId="{F678BE91-2128-CDB8-AB6A-4637859F09AE}"/>
          </ac:picMkLst>
        </pc:picChg>
        <pc:picChg chg="add mod">
          <ac:chgData name="Pierre, Kelley" userId="S::kelley.pierre@accenture.com::75eb27c0-8a09-47b9-b68e-9e48882da6a6" providerId="AD" clId="Web-{35B01A80-11B8-443D-1638-9195945C7CC3}" dt="2022-07-05T21:50:10.390" v="218" actId="1076"/>
          <ac:picMkLst>
            <pc:docMk/>
            <pc:sldMk cId="4270235263" sldId="265"/>
            <ac:picMk id="12" creationId="{21D1BDB1-B54E-3BFC-1690-2B75A4312FCB}"/>
          </ac:picMkLst>
        </pc:picChg>
        <pc:picChg chg="del">
          <ac:chgData name="Pierre, Kelley" userId="S::kelley.pierre@accenture.com::75eb27c0-8a09-47b9-b68e-9e48882da6a6" providerId="AD" clId="Web-{35B01A80-11B8-443D-1638-9195945C7CC3}" dt="2022-07-05T21:49:17.748" v="215"/>
          <ac:picMkLst>
            <pc:docMk/>
            <pc:sldMk cId="4270235263" sldId="265"/>
            <ac:picMk id="13" creationId="{250C5827-AC62-42D5-80FD-9FDAF9E82F55}"/>
          </ac:picMkLst>
        </pc:picChg>
        <pc:picChg chg="add mod">
          <ac:chgData name="Pierre, Kelley" userId="S::kelley.pierre@accenture.com::75eb27c0-8a09-47b9-b68e-9e48882da6a6" providerId="AD" clId="Web-{35B01A80-11B8-443D-1638-9195945C7CC3}" dt="2022-07-05T21:50:45.735" v="222" actId="1076"/>
          <ac:picMkLst>
            <pc:docMk/>
            <pc:sldMk cId="4270235263" sldId="265"/>
            <ac:picMk id="14" creationId="{302BBE91-DB4F-E5CC-CC83-A2098EA93538}"/>
          </ac:picMkLst>
        </pc:picChg>
        <pc:picChg chg="del">
          <ac:chgData name="Pierre, Kelley" userId="S::kelley.pierre@accenture.com::75eb27c0-8a09-47b9-b68e-9e48882da6a6" providerId="AD" clId="Web-{35B01A80-11B8-443D-1638-9195945C7CC3}" dt="2022-07-05T21:50:34.141" v="219"/>
          <ac:picMkLst>
            <pc:docMk/>
            <pc:sldMk cId="4270235263" sldId="265"/>
            <ac:picMk id="16" creationId="{840137F6-57F1-4D3B-8EA7-D625BEA04374}"/>
          </ac:picMkLst>
        </pc:picChg>
      </pc:sldChg>
      <pc:sldChg chg="addSp delSp modSp">
        <pc:chgData name="Pierre, Kelley" userId="S::kelley.pierre@accenture.com::75eb27c0-8a09-47b9-b68e-9e48882da6a6" providerId="AD" clId="Web-{35B01A80-11B8-443D-1638-9195945C7CC3}" dt="2022-07-05T22:55:31.275" v="246" actId="1076"/>
        <pc:sldMkLst>
          <pc:docMk/>
          <pc:sldMk cId="1392176940" sldId="266"/>
        </pc:sldMkLst>
        <pc:picChg chg="add mod">
          <ac:chgData name="Pierre, Kelley" userId="S::kelley.pierre@accenture.com::75eb27c0-8a09-47b9-b68e-9e48882da6a6" providerId="AD" clId="Web-{35B01A80-11B8-443D-1638-9195945C7CC3}" dt="2022-07-05T22:11:50.042" v="226" actId="1076"/>
          <ac:picMkLst>
            <pc:docMk/>
            <pc:sldMk cId="1392176940" sldId="266"/>
            <ac:picMk id="2" creationId="{D5EEA97F-5664-2D15-FF85-3AE6444FE73A}"/>
          </ac:picMkLst>
        </pc:picChg>
        <pc:picChg chg="add mod">
          <ac:chgData name="Pierre, Kelley" userId="S::kelley.pierre@accenture.com::75eb27c0-8a09-47b9-b68e-9e48882da6a6" providerId="AD" clId="Web-{35B01A80-11B8-443D-1638-9195945C7CC3}" dt="2022-07-05T22:39:52.111" v="230" actId="1076"/>
          <ac:picMkLst>
            <pc:docMk/>
            <pc:sldMk cId="1392176940" sldId="266"/>
            <ac:picMk id="3" creationId="{2020C8ED-C581-9DA5-8271-146440B4CE24}"/>
          </ac:picMkLst>
        </pc:picChg>
        <pc:picChg chg="del">
          <ac:chgData name="Pierre, Kelley" userId="S::kelley.pierre@accenture.com::75eb27c0-8a09-47b9-b68e-9e48882da6a6" providerId="AD" clId="Web-{35B01A80-11B8-443D-1638-9195945C7CC3}" dt="2022-07-05T22:11:31.651" v="223"/>
          <ac:picMkLst>
            <pc:docMk/>
            <pc:sldMk cId="1392176940" sldId="266"/>
            <ac:picMk id="3" creationId="{875AF489-547A-426A-9B48-68FC5955723E}"/>
          </ac:picMkLst>
        </pc:picChg>
        <pc:picChg chg="add mod">
          <ac:chgData name="Pierre, Kelley" userId="S::kelley.pierre@accenture.com::75eb27c0-8a09-47b9-b68e-9e48882da6a6" providerId="AD" clId="Web-{35B01A80-11B8-443D-1638-9195945C7CC3}" dt="2022-07-05T22:40:37.815" v="237" actId="1076"/>
          <ac:picMkLst>
            <pc:docMk/>
            <pc:sldMk cId="1392176940" sldId="266"/>
            <ac:picMk id="4" creationId="{0C80C0F2-E024-75CF-BD57-C3ECEB362087}"/>
          </ac:picMkLst>
        </pc:picChg>
        <pc:picChg chg="del">
          <ac:chgData name="Pierre, Kelley" userId="S::kelley.pierre@accenture.com::75eb27c0-8a09-47b9-b68e-9e48882da6a6" providerId="AD" clId="Web-{35B01A80-11B8-443D-1638-9195945C7CC3}" dt="2022-07-05T22:40:13.940" v="234"/>
          <ac:picMkLst>
            <pc:docMk/>
            <pc:sldMk cId="1392176940" sldId="266"/>
            <ac:picMk id="5" creationId="{458F6EDA-A504-4E6E-B457-DE2491D7DA75}"/>
          </ac:picMkLst>
        </pc:picChg>
        <pc:picChg chg="add mod">
          <ac:chgData name="Pierre, Kelley" userId="S::kelley.pierre@accenture.com::75eb27c0-8a09-47b9-b68e-9e48882da6a6" providerId="AD" clId="Web-{35B01A80-11B8-443D-1638-9195945C7CC3}" dt="2022-07-05T22:51:37.175" v="239" actId="1076"/>
          <ac:picMkLst>
            <pc:docMk/>
            <pc:sldMk cId="1392176940" sldId="266"/>
            <ac:picMk id="6" creationId="{76478448-FA90-0F8F-D27F-5E11A7EACF40}"/>
          </ac:picMkLst>
        </pc:picChg>
        <pc:picChg chg="del">
          <ac:chgData name="Pierre, Kelley" userId="S::kelley.pierre@accenture.com::75eb27c0-8a09-47b9-b68e-9e48882da6a6" providerId="AD" clId="Web-{35B01A80-11B8-443D-1638-9195945C7CC3}" dt="2022-07-05T22:40:10.596" v="233"/>
          <ac:picMkLst>
            <pc:docMk/>
            <pc:sldMk cId="1392176940" sldId="266"/>
            <ac:picMk id="8" creationId="{8B253ED2-8119-4B7C-9BD8-A17F448A6EDE}"/>
          </ac:picMkLst>
        </pc:picChg>
        <pc:picChg chg="del">
          <ac:chgData name="Pierre, Kelley" userId="S::kelley.pierre@accenture.com::75eb27c0-8a09-47b9-b68e-9e48882da6a6" providerId="AD" clId="Web-{35B01A80-11B8-443D-1638-9195945C7CC3}" dt="2022-07-05T22:40:06.924" v="232"/>
          <ac:picMkLst>
            <pc:docMk/>
            <pc:sldMk cId="1392176940" sldId="266"/>
            <ac:picMk id="10" creationId="{94BB4C23-1DDD-4603-ADEE-EE78219A024E}"/>
          </ac:picMkLst>
        </pc:picChg>
        <pc:picChg chg="add mod">
          <ac:chgData name="Pierre, Kelley" userId="S::kelley.pierre@accenture.com::75eb27c0-8a09-47b9-b68e-9e48882da6a6" providerId="AD" clId="Web-{35B01A80-11B8-443D-1638-9195945C7CC3}" dt="2022-07-05T22:52:21.208" v="242" actId="1076"/>
          <ac:picMkLst>
            <pc:docMk/>
            <pc:sldMk cId="1392176940" sldId="266"/>
            <ac:picMk id="11" creationId="{11AC2A9E-C33C-2265-6F7E-7F508EA6740A}"/>
          </ac:picMkLst>
        </pc:picChg>
        <pc:picChg chg="add mod">
          <ac:chgData name="Pierre, Kelley" userId="S::kelley.pierre@accenture.com::75eb27c0-8a09-47b9-b68e-9e48882da6a6" providerId="AD" clId="Web-{35B01A80-11B8-443D-1638-9195945C7CC3}" dt="2022-07-05T22:55:31.275" v="246" actId="1076"/>
          <ac:picMkLst>
            <pc:docMk/>
            <pc:sldMk cId="1392176940" sldId="266"/>
            <ac:picMk id="12" creationId="{771EFC35-BD81-3351-D061-1629935546E9}"/>
          </ac:picMkLst>
        </pc:picChg>
        <pc:picChg chg="del mod">
          <ac:chgData name="Pierre, Kelley" userId="S::kelley.pierre@accenture.com::75eb27c0-8a09-47b9-b68e-9e48882da6a6" providerId="AD" clId="Web-{35B01A80-11B8-443D-1638-9195945C7CC3}" dt="2022-07-05T22:39:57.423" v="231"/>
          <ac:picMkLst>
            <pc:docMk/>
            <pc:sldMk cId="1392176940" sldId="266"/>
            <ac:picMk id="13" creationId="{250C5827-AC62-42D5-80FD-9FDAF9E82F55}"/>
          </ac:picMkLst>
        </pc:picChg>
        <pc:picChg chg="del">
          <ac:chgData name="Pierre, Kelley" userId="S::kelley.pierre@accenture.com::75eb27c0-8a09-47b9-b68e-9e48882da6a6" providerId="AD" clId="Web-{35B01A80-11B8-443D-1638-9195945C7CC3}" dt="2022-07-05T22:53:17.600" v="243"/>
          <ac:picMkLst>
            <pc:docMk/>
            <pc:sldMk cId="1392176940" sldId="266"/>
            <ac:picMk id="16" creationId="{840137F6-57F1-4D3B-8EA7-D625BEA04374}"/>
          </ac:picMkLst>
        </pc:picChg>
      </pc:sldChg>
    </pc:docChg>
  </pc:docChgLst>
  <pc:docChgLst>
    <pc:chgData name="Pierre, Kelley" userId="S::kelley.pierre@accenture.com::75eb27c0-8a09-47b9-b68e-9e48882da6a6" providerId="AD" clId="Web-{3FB35334-F27B-4746-881B-1595B7BFAC87}"/>
    <pc:docChg chg="addSld modSld">
      <pc:chgData name="Pierre, Kelley" userId="S::kelley.pierre@accenture.com::75eb27c0-8a09-47b9-b68e-9e48882da6a6" providerId="AD" clId="Web-{3FB35334-F27B-4746-881B-1595B7BFAC87}" dt="2022-07-06T17:46:38.199" v="465"/>
      <pc:docMkLst>
        <pc:docMk/>
      </pc:docMkLst>
      <pc:sldChg chg="addSp delSp modSp">
        <pc:chgData name="Pierre, Kelley" userId="S::kelley.pierre@accenture.com::75eb27c0-8a09-47b9-b68e-9e48882da6a6" providerId="AD" clId="Web-{3FB35334-F27B-4746-881B-1595B7BFAC87}" dt="2022-07-06T17:40:10.126" v="463"/>
        <pc:sldMkLst>
          <pc:docMk/>
          <pc:sldMk cId="573631083" sldId="259"/>
        </pc:sldMkLst>
        <pc:spChg chg="add mod">
          <ac:chgData name="Pierre, Kelley" userId="S::kelley.pierre@accenture.com::75eb27c0-8a09-47b9-b68e-9e48882da6a6" providerId="AD" clId="Web-{3FB35334-F27B-4746-881B-1595B7BFAC87}" dt="2022-07-06T13:59:13.408" v="176" actId="1076"/>
          <ac:spMkLst>
            <pc:docMk/>
            <pc:sldMk cId="573631083" sldId="259"/>
            <ac:spMk id="4" creationId="{A29F1130-926C-8F54-CB6F-61824E1E4D25}"/>
          </ac:spMkLst>
        </pc:spChg>
        <pc:graphicFrameChg chg="mod modGraphic">
          <ac:chgData name="Pierre, Kelley" userId="S::kelley.pierre@accenture.com::75eb27c0-8a09-47b9-b68e-9e48882da6a6" providerId="AD" clId="Web-{3FB35334-F27B-4746-881B-1595B7BFAC87}" dt="2022-07-06T17:40:10.126" v="463"/>
          <ac:graphicFrameMkLst>
            <pc:docMk/>
            <pc:sldMk cId="573631083" sldId="259"/>
            <ac:graphicFrameMk id="7" creationId="{69CB2100-137C-4779-AB90-7427C4A33A74}"/>
          </ac:graphicFrameMkLst>
        </pc:graphicFrameChg>
        <pc:picChg chg="del">
          <ac:chgData name="Pierre, Kelley" userId="S::kelley.pierre@accenture.com::75eb27c0-8a09-47b9-b68e-9e48882da6a6" providerId="AD" clId="Web-{3FB35334-F27B-4746-881B-1595B7BFAC87}" dt="2022-07-06T14:29:35.414" v="282"/>
          <ac:picMkLst>
            <pc:docMk/>
            <pc:sldMk cId="573631083" sldId="259"/>
            <ac:picMk id="3" creationId="{875AF489-547A-426A-9B48-68FC5955723E}"/>
          </ac:picMkLst>
        </pc:picChg>
        <pc:picChg chg="del">
          <ac:chgData name="Pierre, Kelley" userId="S::kelley.pierre@accenture.com::75eb27c0-8a09-47b9-b68e-9e48882da6a6" providerId="AD" clId="Web-{3FB35334-F27B-4746-881B-1595B7BFAC87}" dt="2022-07-06T14:39:57.744" v="285"/>
          <ac:picMkLst>
            <pc:docMk/>
            <pc:sldMk cId="573631083" sldId="259"/>
            <ac:picMk id="5" creationId="{458F6EDA-A504-4E6E-B457-DE2491D7DA75}"/>
          </ac:picMkLst>
        </pc:picChg>
        <pc:picChg chg="del">
          <ac:chgData name="Pierre, Kelley" userId="S::kelley.pierre@accenture.com::75eb27c0-8a09-47b9-b68e-9e48882da6a6" providerId="AD" clId="Web-{3FB35334-F27B-4746-881B-1595B7BFAC87}" dt="2022-07-06T14:40:36.980" v="291"/>
          <ac:picMkLst>
            <pc:docMk/>
            <pc:sldMk cId="573631083" sldId="259"/>
            <ac:picMk id="8" creationId="{8B253ED2-8119-4B7C-9BD8-A17F448A6EDE}"/>
          </ac:picMkLst>
        </pc:picChg>
        <pc:picChg chg="del">
          <ac:chgData name="Pierre, Kelley" userId="S::kelley.pierre@accenture.com::75eb27c0-8a09-47b9-b68e-9e48882da6a6" providerId="AD" clId="Web-{3FB35334-F27B-4746-881B-1595B7BFAC87}" dt="2022-07-06T14:40:39.636" v="292"/>
          <ac:picMkLst>
            <pc:docMk/>
            <pc:sldMk cId="573631083" sldId="259"/>
            <ac:picMk id="10" creationId="{94BB4C23-1DDD-4603-ADEE-EE78219A024E}"/>
          </ac:picMkLst>
        </pc:picChg>
        <pc:picChg chg="add mod">
          <ac:chgData name="Pierre, Kelley" userId="S::kelley.pierre@accenture.com::75eb27c0-8a09-47b9-b68e-9e48882da6a6" providerId="AD" clId="Web-{3FB35334-F27B-4746-881B-1595B7BFAC87}" dt="2022-07-06T14:29:46.601" v="284" actId="1076"/>
          <ac:picMkLst>
            <pc:docMk/>
            <pc:sldMk cId="573631083" sldId="259"/>
            <ac:picMk id="11" creationId="{C59FA9C2-C59F-C388-D213-976D440FB200}"/>
          </ac:picMkLst>
        </pc:picChg>
        <pc:picChg chg="add mod">
          <ac:chgData name="Pierre, Kelley" userId="S::kelley.pierre@accenture.com::75eb27c0-8a09-47b9-b68e-9e48882da6a6" providerId="AD" clId="Web-{3FB35334-F27B-4746-881B-1595B7BFAC87}" dt="2022-07-06T14:40:29.432" v="290" actId="14100"/>
          <ac:picMkLst>
            <pc:docMk/>
            <pc:sldMk cId="573631083" sldId="259"/>
            <ac:picMk id="12" creationId="{B5CA12AC-5A26-5BA8-17A1-C47641E5E189}"/>
          </ac:picMkLst>
        </pc:picChg>
        <pc:picChg chg="del">
          <ac:chgData name="Pierre, Kelley" userId="S::kelley.pierre@accenture.com::75eb27c0-8a09-47b9-b68e-9e48882da6a6" providerId="AD" clId="Web-{3FB35334-F27B-4746-881B-1595B7BFAC87}" dt="2022-07-06T14:40:41.995" v="293"/>
          <ac:picMkLst>
            <pc:docMk/>
            <pc:sldMk cId="573631083" sldId="259"/>
            <ac:picMk id="13" creationId="{250C5827-AC62-42D5-80FD-9FDAF9E82F55}"/>
          </ac:picMkLst>
        </pc:picChg>
        <pc:picChg chg="add mod">
          <ac:chgData name="Pierre, Kelley" userId="S::kelley.pierre@accenture.com::75eb27c0-8a09-47b9-b68e-9e48882da6a6" providerId="AD" clId="Web-{3FB35334-F27B-4746-881B-1595B7BFAC87}" dt="2022-07-06T14:41:43.638" v="301" actId="14100"/>
          <ac:picMkLst>
            <pc:docMk/>
            <pc:sldMk cId="573631083" sldId="259"/>
            <ac:picMk id="15" creationId="{2526F6DE-D910-C151-FD49-8E273C6419AA}"/>
          </ac:picMkLst>
        </pc:picChg>
        <pc:picChg chg="del">
          <ac:chgData name="Pierre, Kelley" userId="S::kelley.pierre@accenture.com::75eb27c0-8a09-47b9-b68e-9e48882da6a6" providerId="AD" clId="Web-{3FB35334-F27B-4746-881B-1595B7BFAC87}" dt="2022-07-06T14:40:44.745" v="294"/>
          <ac:picMkLst>
            <pc:docMk/>
            <pc:sldMk cId="573631083" sldId="259"/>
            <ac:picMk id="16" creationId="{840137F6-57F1-4D3B-8EA7-D625BEA04374}"/>
          </ac:picMkLst>
        </pc:picChg>
        <pc:picChg chg="add mod">
          <ac:chgData name="Pierre, Kelley" userId="S::kelley.pierre@accenture.com::75eb27c0-8a09-47b9-b68e-9e48882da6a6" providerId="AD" clId="Web-{3FB35334-F27B-4746-881B-1595B7BFAC87}" dt="2022-07-06T14:42:54.827" v="303" actId="1076"/>
          <ac:picMkLst>
            <pc:docMk/>
            <pc:sldMk cId="573631083" sldId="259"/>
            <ac:picMk id="18" creationId="{47C1D93A-980B-EED2-496F-F56A56E6E797}"/>
          </ac:picMkLst>
        </pc:picChg>
        <pc:picChg chg="add mod">
          <ac:chgData name="Pierre, Kelley" userId="S::kelley.pierre@accenture.com::75eb27c0-8a09-47b9-b68e-9e48882da6a6" providerId="AD" clId="Web-{3FB35334-F27B-4746-881B-1595B7BFAC87}" dt="2022-07-06T14:43:22.547" v="305" actId="1076"/>
          <ac:picMkLst>
            <pc:docMk/>
            <pc:sldMk cId="573631083" sldId="259"/>
            <ac:picMk id="20" creationId="{C3B0AB6E-8DF7-A5AD-081E-3DC088DADC46}"/>
          </ac:picMkLst>
        </pc:picChg>
        <pc:picChg chg="add mod">
          <ac:chgData name="Pierre, Kelley" userId="S::kelley.pierre@accenture.com::75eb27c0-8a09-47b9-b68e-9e48882da6a6" providerId="AD" clId="Web-{3FB35334-F27B-4746-881B-1595B7BFAC87}" dt="2022-07-06T14:45:27.441" v="307" actId="1076"/>
          <ac:picMkLst>
            <pc:docMk/>
            <pc:sldMk cId="573631083" sldId="259"/>
            <ac:picMk id="22" creationId="{421A0B5F-63A9-89CA-7F45-7FC2D683F188}"/>
          </ac:picMkLst>
        </pc:picChg>
      </pc:sldChg>
      <pc:sldChg chg="addSp modSp">
        <pc:chgData name="Pierre, Kelley" userId="S::kelley.pierre@accenture.com::75eb27c0-8a09-47b9-b68e-9e48882da6a6" providerId="AD" clId="Web-{3FB35334-F27B-4746-881B-1595B7BFAC87}" dt="2022-07-06T13:59:33.471" v="179" actId="20577"/>
        <pc:sldMkLst>
          <pc:docMk/>
          <pc:sldMk cId="2530484429" sldId="260"/>
        </pc:sldMkLst>
        <pc:spChg chg="add mod">
          <ac:chgData name="Pierre, Kelley" userId="S::kelley.pierre@accenture.com::75eb27c0-8a09-47b9-b68e-9e48882da6a6" providerId="AD" clId="Web-{3FB35334-F27B-4746-881B-1595B7BFAC87}" dt="2022-07-06T13:59:33.471" v="179" actId="20577"/>
          <ac:spMkLst>
            <pc:docMk/>
            <pc:sldMk cId="2530484429" sldId="260"/>
            <ac:spMk id="3" creationId="{9CFBFB5F-5500-83FB-0F33-5C373DF225F3}"/>
          </ac:spMkLst>
        </pc:spChg>
        <pc:picChg chg="mod">
          <ac:chgData name="Pierre, Kelley" userId="S::kelley.pierre@accenture.com::75eb27c0-8a09-47b9-b68e-9e48882da6a6" providerId="AD" clId="Web-{3FB35334-F27B-4746-881B-1595B7BFAC87}" dt="2022-07-06T13:24:13.754" v="7" actId="1076"/>
          <ac:picMkLst>
            <pc:docMk/>
            <pc:sldMk cId="2530484429" sldId="260"/>
            <ac:picMk id="6" creationId="{495B492B-24E2-DBCE-4C20-62CD3B0F5E56}"/>
          </ac:picMkLst>
        </pc:picChg>
        <pc:picChg chg="mod">
          <ac:chgData name="Pierre, Kelley" userId="S::kelley.pierre@accenture.com::75eb27c0-8a09-47b9-b68e-9e48882da6a6" providerId="AD" clId="Web-{3FB35334-F27B-4746-881B-1595B7BFAC87}" dt="2022-07-06T13:23:31.315" v="1" actId="1076"/>
          <ac:picMkLst>
            <pc:docMk/>
            <pc:sldMk cId="2530484429" sldId="260"/>
            <ac:picMk id="7" creationId="{44175ECA-5F42-4C0F-028C-1CF99CF34B3E}"/>
          </ac:picMkLst>
        </pc:picChg>
        <pc:picChg chg="mod">
          <ac:chgData name="Pierre, Kelley" userId="S::kelley.pierre@accenture.com::75eb27c0-8a09-47b9-b68e-9e48882da6a6" providerId="AD" clId="Web-{3FB35334-F27B-4746-881B-1595B7BFAC87}" dt="2022-07-06T13:24:21.723" v="8" actId="1076"/>
          <ac:picMkLst>
            <pc:docMk/>
            <pc:sldMk cId="2530484429" sldId="260"/>
            <ac:picMk id="11" creationId="{0EC70DC0-FAE6-9BE9-F38C-3F0EFD8D3DB6}"/>
          </ac:picMkLst>
        </pc:picChg>
        <pc:picChg chg="mod">
          <ac:chgData name="Pierre, Kelley" userId="S::kelley.pierre@accenture.com::75eb27c0-8a09-47b9-b68e-9e48882da6a6" providerId="AD" clId="Web-{3FB35334-F27B-4746-881B-1595B7BFAC87}" dt="2022-07-06T13:24:39.692" v="10" actId="1076"/>
          <ac:picMkLst>
            <pc:docMk/>
            <pc:sldMk cId="2530484429" sldId="260"/>
            <ac:picMk id="15" creationId="{9AAECF3F-1807-BE6E-5C90-D1C365FC2510}"/>
          </ac:picMkLst>
        </pc:picChg>
        <pc:picChg chg="mod">
          <ac:chgData name="Pierre, Kelley" userId="S::kelley.pierre@accenture.com::75eb27c0-8a09-47b9-b68e-9e48882da6a6" providerId="AD" clId="Web-{3FB35334-F27B-4746-881B-1595B7BFAC87}" dt="2022-07-06T13:24:48.630" v="12" actId="1076"/>
          <ac:picMkLst>
            <pc:docMk/>
            <pc:sldMk cId="2530484429" sldId="260"/>
            <ac:picMk id="17" creationId="{ED4115B1-84E4-2663-8E70-73DFF445146D}"/>
          </ac:picMkLst>
        </pc:picChg>
        <pc:picChg chg="mod">
          <ac:chgData name="Pierre, Kelley" userId="S::kelley.pierre@accenture.com::75eb27c0-8a09-47b9-b68e-9e48882da6a6" providerId="AD" clId="Web-{3FB35334-F27B-4746-881B-1595B7BFAC87}" dt="2022-07-06T13:25:01.677" v="14" actId="1076"/>
          <ac:picMkLst>
            <pc:docMk/>
            <pc:sldMk cId="2530484429" sldId="260"/>
            <ac:picMk id="19" creationId="{1B723946-5904-CF81-DD0B-C5265695A2D1}"/>
          </ac:picMkLst>
        </pc:picChg>
      </pc:sldChg>
      <pc:sldChg chg="addSp modSp">
        <pc:chgData name="Pierre, Kelley" userId="S::kelley.pierre@accenture.com::75eb27c0-8a09-47b9-b68e-9e48882da6a6" providerId="AD" clId="Web-{3FB35334-F27B-4746-881B-1595B7BFAC87}" dt="2022-07-06T16:33:56.245" v="401"/>
        <pc:sldMkLst>
          <pc:docMk/>
          <pc:sldMk cId="4194863863" sldId="261"/>
        </pc:sldMkLst>
        <pc:spChg chg="add mod">
          <ac:chgData name="Pierre, Kelley" userId="S::kelley.pierre@accenture.com::75eb27c0-8a09-47b9-b68e-9e48882da6a6" providerId="AD" clId="Web-{3FB35334-F27B-4746-881B-1595B7BFAC87}" dt="2022-07-06T14:00:33.738" v="183" actId="20577"/>
          <ac:spMkLst>
            <pc:docMk/>
            <pc:sldMk cId="4194863863" sldId="261"/>
            <ac:spMk id="5" creationId="{540072E7-A4B6-9A39-C04D-78AA6249F659}"/>
          </ac:spMkLst>
        </pc:spChg>
        <pc:graphicFrameChg chg="modGraphic">
          <ac:chgData name="Pierre, Kelley" userId="S::kelley.pierre@accenture.com::75eb27c0-8a09-47b9-b68e-9e48882da6a6" providerId="AD" clId="Web-{3FB35334-F27B-4746-881B-1595B7BFAC87}" dt="2022-07-06T16:33:56.245" v="401"/>
          <ac:graphicFrameMkLst>
            <pc:docMk/>
            <pc:sldMk cId="4194863863" sldId="261"/>
            <ac:graphicFrameMk id="7" creationId="{69CB2100-137C-4779-AB90-7427C4A33A74}"/>
          </ac:graphicFrameMkLst>
        </pc:graphicFrameChg>
        <pc:picChg chg="mod">
          <ac:chgData name="Pierre, Kelley" userId="S::kelley.pierre@accenture.com::75eb27c0-8a09-47b9-b68e-9e48882da6a6" providerId="AD" clId="Web-{3FB35334-F27B-4746-881B-1595B7BFAC87}" dt="2022-07-06T13:46:15.433" v="82" actId="1076"/>
          <ac:picMkLst>
            <pc:docMk/>
            <pc:sldMk cId="4194863863" sldId="261"/>
            <ac:picMk id="2" creationId="{3FD04CE9-3D01-8573-C146-04B6B9D0ADDE}"/>
          </ac:picMkLst>
        </pc:picChg>
        <pc:picChg chg="mod">
          <ac:chgData name="Pierre, Kelley" userId="S::kelley.pierre@accenture.com::75eb27c0-8a09-47b9-b68e-9e48882da6a6" providerId="AD" clId="Web-{3FB35334-F27B-4746-881B-1595B7BFAC87}" dt="2022-07-06T13:46:09.557" v="81" actId="1076"/>
          <ac:picMkLst>
            <pc:docMk/>
            <pc:sldMk cId="4194863863" sldId="261"/>
            <ac:picMk id="4" creationId="{2712B90F-B0ED-9C6C-76F6-95607A62BA1D}"/>
          </ac:picMkLst>
        </pc:picChg>
        <pc:picChg chg="mod">
          <ac:chgData name="Pierre, Kelley" userId="S::kelley.pierre@accenture.com::75eb27c0-8a09-47b9-b68e-9e48882da6a6" providerId="AD" clId="Web-{3FB35334-F27B-4746-881B-1595B7BFAC87}" dt="2022-07-06T13:46:05.057" v="80" actId="1076"/>
          <ac:picMkLst>
            <pc:docMk/>
            <pc:sldMk cId="4194863863" sldId="261"/>
            <ac:picMk id="6" creationId="{8E7CADE7-5FD1-F3C5-E6B0-746A865D4444}"/>
          </ac:picMkLst>
        </pc:picChg>
        <pc:picChg chg="mod">
          <ac:chgData name="Pierre, Kelley" userId="S::kelley.pierre@accenture.com::75eb27c0-8a09-47b9-b68e-9e48882da6a6" providerId="AD" clId="Web-{3FB35334-F27B-4746-881B-1595B7BFAC87}" dt="2022-07-06T13:46:00.698" v="79" actId="1076"/>
          <ac:picMkLst>
            <pc:docMk/>
            <pc:sldMk cId="4194863863" sldId="261"/>
            <ac:picMk id="11" creationId="{F40B56C2-DFA0-AC49-16D7-3CECE4466EA7}"/>
          </ac:picMkLst>
        </pc:picChg>
        <pc:picChg chg="mod">
          <ac:chgData name="Pierre, Kelley" userId="S::kelley.pierre@accenture.com::75eb27c0-8a09-47b9-b68e-9e48882da6a6" providerId="AD" clId="Web-{3FB35334-F27B-4746-881B-1595B7BFAC87}" dt="2022-07-06T13:45:52.291" v="77" actId="1076"/>
          <ac:picMkLst>
            <pc:docMk/>
            <pc:sldMk cId="4194863863" sldId="261"/>
            <ac:picMk id="12" creationId="{8524702A-483B-78E4-6E58-8EA8D61B632F}"/>
          </ac:picMkLst>
        </pc:picChg>
        <pc:picChg chg="mod">
          <ac:chgData name="Pierre, Kelley" userId="S::kelley.pierre@accenture.com::75eb27c0-8a09-47b9-b68e-9e48882da6a6" providerId="AD" clId="Web-{3FB35334-F27B-4746-881B-1595B7BFAC87}" dt="2022-07-06T14:22:41.948" v="266" actId="1076"/>
          <ac:picMkLst>
            <pc:docMk/>
            <pc:sldMk cId="4194863863" sldId="261"/>
            <ac:picMk id="14" creationId="{174247C2-8D73-30C6-FC15-2B7F6250274C}"/>
          </ac:picMkLst>
        </pc:picChg>
      </pc:sldChg>
      <pc:sldChg chg="addSp modSp">
        <pc:chgData name="Pierre, Kelley" userId="S::kelley.pierre@accenture.com::75eb27c0-8a09-47b9-b68e-9e48882da6a6" providerId="AD" clId="Web-{3FB35334-F27B-4746-881B-1595B7BFAC87}" dt="2022-07-06T14:00:50.645" v="186" actId="1076"/>
        <pc:sldMkLst>
          <pc:docMk/>
          <pc:sldMk cId="2732365266" sldId="262"/>
        </pc:sldMkLst>
        <pc:spChg chg="add mod">
          <ac:chgData name="Pierre, Kelley" userId="S::kelley.pierre@accenture.com::75eb27c0-8a09-47b9-b68e-9e48882da6a6" providerId="AD" clId="Web-{3FB35334-F27B-4746-881B-1595B7BFAC87}" dt="2022-07-06T14:00:50.645" v="186" actId="1076"/>
          <ac:spMkLst>
            <pc:docMk/>
            <pc:sldMk cId="2732365266" sldId="262"/>
            <ac:spMk id="10" creationId="{5B53BD87-AEB3-AD64-4355-C7DB22DF66E0}"/>
          </ac:spMkLst>
        </pc:spChg>
        <pc:picChg chg="mod">
          <ac:chgData name="Pierre, Kelley" userId="S::kelley.pierre@accenture.com::75eb27c0-8a09-47b9-b68e-9e48882da6a6" providerId="AD" clId="Web-{3FB35334-F27B-4746-881B-1595B7BFAC87}" dt="2022-07-06T13:41:22.127" v="48" actId="14100"/>
          <ac:picMkLst>
            <pc:docMk/>
            <pc:sldMk cId="2732365266" sldId="262"/>
            <ac:picMk id="2" creationId="{93FD339E-DD89-54DE-3736-A448B99DE6BF}"/>
          </ac:picMkLst>
        </pc:picChg>
        <pc:picChg chg="mod">
          <ac:chgData name="Pierre, Kelley" userId="S::kelley.pierre@accenture.com::75eb27c0-8a09-47b9-b68e-9e48882da6a6" providerId="AD" clId="Web-{3FB35334-F27B-4746-881B-1595B7BFAC87}" dt="2022-07-06T13:44:55.305" v="69" actId="1076"/>
          <ac:picMkLst>
            <pc:docMk/>
            <pc:sldMk cId="2732365266" sldId="262"/>
            <ac:picMk id="3" creationId="{440AF7BB-97C8-4671-EB41-73FEEA30BA0B}"/>
          </ac:picMkLst>
        </pc:picChg>
        <pc:picChg chg="mod">
          <ac:chgData name="Pierre, Kelley" userId="S::kelley.pierre@accenture.com::75eb27c0-8a09-47b9-b68e-9e48882da6a6" providerId="AD" clId="Web-{3FB35334-F27B-4746-881B-1595B7BFAC87}" dt="2022-07-06T13:44:44.961" v="68" actId="1076"/>
          <ac:picMkLst>
            <pc:docMk/>
            <pc:sldMk cId="2732365266" sldId="262"/>
            <ac:picMk id="4" creationId="{405AF6F3-69E7-E863-8721-AF211ADCE904}"/>
          </ac:picMkLst>
        </pc:picChg>
        <pc:picChg chg="mod">
          <ac:chgData name="Pierre, Kelley" userId="S::kelley.pierre@accenture.com::75eb27c0-8a09-47b9-b68e-9e48882da6a6" providerId="AD" clId="Web-{3FB35334-F27B-4746-881B-1595B7BFAC87}" dt="2022-07-06T13:44:59.540" v="70" actId="1076"/>
          <ac:picMkLst>
            <pc:docMk/>
            <pc:sldMk cId="2732365266" sldId="262"/>
            <ac:picMk id="5" creationId="{C3922B8D-6D00-B995-319F-6BC73FAD5F62}"/>
          </ac:picMkLst>
        </pc:picChg>
        <pc:picChg chg="mod">
          <ac:chgData name="Pierre, Kelley" userId="S::kelley.pierre@accenture.com::75eb27c0-8a09-47b9-b68e-9e48882da6a6" providerId="AD" clId="Web-{3FB35334-F27B-4746-881B-1595B7BFAC87}" dt="2022-07-06T13:40:43.095" v="45" actId="14100"/>
          <ac:picMkLst>
            <pc:docMk/>
            <pc:sldMk cId="2732365266" sldId="262"/>
            <ac:picMk id="6" creationId="{3E4F1ADB-63E7-451B-57D5-474ABF4B203C}"/>
          </ac:picMkLst>
        </pc:picChg>
        <pc:picChg chg="mod">
          <ac:chgData name="Pierre, Kelley" userId="S::kelley.pierre@accenture.com::75eb27c0-8a09-47b9-b68e-9e48882da6a6" providerId="AD" clId="Web-{3FB35334-F27B-4746-881B-1595B7BFAC87}" dt="2022-07-06T13:45:04.149" v="71" actId="1076"/>
          <ac:picMkLst>
            <pc:docMk/>
            <pc:sldMk cId="2732365266" sldId="262"/>
            <ac:picMk id="11" creationId="{84D2AD0C-F274-82CB-6EA2-F37D5A975171}"/>
          </ac:picMkLst>
        </pc:picChg>
      </pc:sldChg>
      <pc:sldChg chg="addSp modSp">
        <pc:chgData name="Pierre, Kelley" userId="S::kelley.pierre@accenture.com::75eb27c0-8a09-47b9-b68e-9e48882da6a6" providerId="AD" clId="Web-{3FB35334-F27B-4746-881B-1595B7BFAC87}" dt="2022-07-06T17:46:38.199" v="465"/>
        <pc:sldMkLst>
          <pc:docMk/>
          <pc:sldMk cId="3524889860" sldId="263"/>
        </pc:sldMkLst>
        <pc:spChg chg="add mod">
          <ac:chgData name="Pierre, Kelley" userId="S::kelley.pierre@accenture.com::75eb27c0-8a09-47b9-b68e-9e48882da6a6" providerId="AD" clId="Web-{3FB35334-F27B-4746-881B-1595B7BFAC87}" dt="2022-07-06T14:01:19.333" v="189" actId="20577"/>
          <ac:spMkLst>
            <pc:docMk/>
            <pc:sldMk cId="3524889860" sldId="263"/>
            <ac:spMk id="5" creationId="{FC0CDB3C-EF0C-C61D-3ED8-348CFFE86A23}"/>
          </ac:spMkLst>
        </pc:spChg>
        <pc:graphicFrameChg chg="mod modGraphic">
          <ac:chgData name="Pierre, Kelley" userId="S::kelley.pierre@accenture.com::75eb27c0-8a09-47b9-b68e-9e48882da6a6" providerId="AD" clId="Web-{3FB35334-F27B-4746-881B-1595B7BFAC87}" dt="2022-07-06T17:46:38.199" v="465"/>
          <ac:graphicFrameMkLst>
            <pc:docMk/>
            <pc:sldMk cId="3524889860" sldId="263"/>
            <ac:graphicFrameMk id="7" creationId="{69CB2100-137C-4779-AB90-7427C4A33A74}"/>
          </ac:graphicFrameMkLst>
        </pc:graphicFrameChg>
        <pc:picChg chg="mod">
          <ac:chgData name="Pierre, Kelley" userId="S::kelley.pierre@accenture.com::75eb27c0-8a09-47b9-b68e-9e48882da6a6" providerId="AD" clId="Web-{3FB35334-F27B-4746-881B-1595B7BFAC87}" dt="2022-07-06T13:48:24.358" v="94" actId="1076"/>
          <ac:picMkLst>
            <pc:docMk/>
            <pc:sldMk cId="3524889860" sldId="263"/>
            <ac:picMk id="2" creationId="{4B9BCF31-C305-E274-98F8-910CFA5D5383}"/>
          </ac:picMkLst>
        </pc:picChg>
        <pc:picChg chg="mod">
          <ac:chgData name="Pierre, Kelley" userId="S::kelley.pierre@accenture.com::75eb27c0-8a09-47b9-b68e-9e48882da6a6" providerId="AD" clId="Web-{3FB35334-F27B-4746-881B-1595B7BFAC87}" dt="2022-07-06T13:48:31.765" v="95" actId="1076"/>
          <ac:picMkLst>
            <pc:docMk/>
            <pc:sldMk cId="3524889860" sldId="263"/>
            <ac:picMk id="4" creationId="{1DF9D291-36A8-C386-DDE5-988EA09E75B0}"/>
          </ac:picMkLst>
        </pc:picChg>
        <pc:picChg chg="mod">
          <ac:chgData name="Pierre, Kelley" userId="S::kelley.pierre@accenture.com::75eb27c0-8a09-47b9-b68e-9e48882da6a6" providerId="AD" clId="Web-{3FB35334-F27B-4746-881B-1595B7BFAC87}" dt="2022-07-06T13:48:38.874" v="96" actId="1076"/>
          <ac:picMkLst>
            <pc:docMk/>
            <pc:sldMk cId="3524889860" sldId="263"/>
            <ac:picMk id="6" creationId="{4B0DA577-54C2-047D-92F2-AD54FAFE6744}"/>
          </ac:picMkLst>
        </pc:picChg>
        <pc:picChg chg="mod">
          <ac:chgData name="Pierre, Kelley" userId="S::kelley.pierre@accenture.com::75eb27c0-8a09-47b9-b68e-9e48882da6a6" providerId="AD" clId="Web-{3FB35334-F27B-4746-881B-1595B7BFAC87}" dt="2022-07-06T13:48:43.546" v="97" actId="1076"/>
          <ac:picMkLst>
            <pc:docMk/>
            <pc:sldMk cId="3524889860" sldId="263"/>
            <ac:picMk id="11" creationId="{D5442F18-F00B-12E1-04B7-1931021D61EA}"/>
          </ac:picMkLst>
        </pc:picChg>
        <pc:picChg chg="mod">
          <ac:chgData name="Pierre, Kelley" userId="S::kelley.pierre@accenture.com::75eb27c0-8a09-47b9-b68e-9e48882da6a6" providerId="AD" clId="Web-{3FB35334-F27B-4746-881B-1595B7BFAC87}" dt="2022-07-06T13:49:14.828" v="101" actId="1076"/>
          <ac:picMkLst>
            <pc:docMk/>
            <pc:sldMk cId="3524889860" sldId="263"/>
            <ac:picMk id="14" creationId="{A1C53AD7-9228-B194-9A8D-FB2BD3DCE5DB}"/>
          </ac:picMkLst>
        </pc:picChg>
        <pc:picChg chg="mod">
          <ac:chgData name="Pierre, Kelley" userId="S::kelley.pierre@accenture.com::75eb27c0-8a09-47b9-b68e-9e48882da6a6" providerId="AD" clId="Web-{3FB35334-F27B-4746-881B-1595B7BFAC87}" dt="2022-07-06T13:49:06.703" v="100" actId="1076"/>
          <ac:picMkLst>
            <pc:docMk/>
            <pc:sldMk cId="3524889860" sldId="263"/>
            <ac:picMk id="15" creationId="{C0B45A28-848A-1833-9319-027DC5DFFC04}"/>
          </ac:picMkLst>
        </pc:picChg>
      </pc:sldChg>
      <pc:sldChg chg="addSp modSp">
        <pc:chgData name="Pierre, Kelley" userId="S::kelley.pierre@accenture.com::75eb27c0-8a09-47b9-b68e-9e48882da6a6" providerId="AD" clId="Web-{3FB35334-F27B-4746-881B-1595B7BFAC87}" dt="2022-07-06T14:24:33.483" v="275"/>
        <pc:sldMkLst>
          <pc:docMk/>
          <pc:sldMk cId="127420792" sldId="264"/>
        </pc:sldMkLst>
        <pc:spChg chg="add mod">
          <ac:chgData name="Pierre, Kelley" userId="S::kelley.pierre@accenture.com::75eb27c0-8a09-47b9-b68e-9e48882da6a6" providerId="AD" clId="Web-{3FB35334-F27B-4746-881B-1595B7BFAC87}" dt="2022-07-06T14:02:39.820" v="199" actId="1076"/>
          <ac:spMkLst>
            <pc:docMk/>
            <pc:sldMk cId="127420792" sldId="264"/>
            <ac:spMk id="6" creationId="{8248E4EA-1144-98F4-8E15-A65887C7DF39}"/>
          </ac:spMkLst>
        </pc:spChg>
        <pc:graphicFrameChg chg="modGraphic">
          <ac:chgData name="Pierre, Kelley" userId="S::kelley.pierre@accenture.com::75eb27c0-8a09-47b9-b68e-9e48882da6a6" providerId="AD" clId="Web-{3FB35334-F27B-4746-881B-1595B7BFAC87}" dt="2022-07-06T14:24:33.483" v="275"/>
          <ac:graphicFrameMkLst>
            <pc:docMk/>
            <pc:sldMk cId="127420792" sldId="264"/>
            <ac:graphicFrameMk id="7" creationId="{69CB2100-137C-4779-AB90-7427C4A33A74}"/>
          </ac:graphicFrameMkLst>
        </pc:graphicFrameChg>
        <pc:picChg chg="mod">
          <ac:chgData name="Pierre, Kelley" userId="S::kelley.pierre@accenture.com::75eb27c0-8a09-47b9-b68e-9e48882da6a6" providerId="AD" clId="Web-{3FB35334-F27B-4746-881B-1595B7BFAC87}" dt="2022-07-06T13:50:47.050" v="115" actId="1076"/>
          <ac:picMkLst>
            <pc:docMk/>
            <pc:sldMk cId="127420792" sldId="264"/>
            <ac:picMk id="2" creationId="{98306C45-D95F-51A3-D961-D131EC90AC3E}"/>
          </ac:picMkLst>
        </pc:picChg>
        <pc:picChg chg="mod">
          <ac:chgData name="Pierre, Kelley" userId="S::kelley.pierre@accenture.com::75eb27c0-8a09-47b9-b68e-9e48882da6a6" providerId="AD" clId="Web-{3FB35334-F27B-4746-881B-1595B7BFAC87}" dt="2022-07-06T13:50:38.987" v="114" actId="1076"/>
          <ac:picMkLst>
            <pc:docMk/>
            <pc:sldMk cId="127420792" sldId="264"/>
            <ac:picMk id="3" creationId="{77F9FE71-C72A-CD46-8301-2FA4FEE686F2}"/>
          </ac:picMkLst>
        </pc:picChg>
        <pc:picChg chg="mod">
          <ac:chgData name="Pierre, Kelley" userId="S::kelley.pierre@accenture.com::75eb27c0-8a09-47b9-b68e-9e48882da6a6" providerId="AD" clId="Web-{3FB35334-F27B-4746-881B-1595B7BFAC87}" dt="2022-07-06T13:50:56.566" v="116" actId="1076"/>
          <ac:picMkLst>
            <pc:docMk/>
            <pc:sldMk cId="127420792" sldId="264"/>
            <ac:picMk id="4" creationId="{427D265A-5E33-9F45-856F-C58A1DE4C14B}"/>
          </ac:picMkLst>
        </pc:picChg>
        <pc:picChg chg="mod">
          <ac:chgData name="Pierre, Kelley" userId="S::kelley.pierre@accenture.com::75eb27c0-8a09-47b9-b68e-9e48882da6a6" providerId="AD" clId="Web-{3FB35334-F27B-4746-881B-1595B7BFAC87}" dt="2022-07-06T13:51:08.503" v="117" actId="1076"/>
          <ac:picMkLst>
            <pc:docMk/>
            <pc:sldMk cId="127420792" sldId="264"/>
            <ac:picMk id="11" creationId="{F185EEC7-3E24-0795-F469-BB4112715D26}"/>
          </ac:picMkLst>
        </pc:picChg>
        <pc:picChg chg="mod">
          <ac:chgData name="Pierre, Kelley" userId="S::kelley.pierre@accenture.com::75eb27c0-8a09-47b9-b68e-9e48882da6a6" providerId="AD" clId="Web-{3FB35334-F27B-4746-881B-1595B7BFAC87}" dt="2022-07-06T13:51:21.129" v="120" actId="1076"/>
          <ac:picMkLst>
            <pc:docMk/>
            <pc:sldMk cId="127420792" sldId="264"/>
            <ac:picMk id="12" creationId="{5087A68F-9C4C-2F45-CB75-E4EFFAC4DA73}"/>
          </ac:picMkLst>
        </pc:picChg>
        <pc:picChg chg="mod">
          <ac:chgData name="Pierre, Kelley" userId="S::kelley.pierre@accenture.com::75eb27c0-8a09-47b9-b68e-9e48882da6a6" providerId="AD" clId="Web-{3FB35334-F27B-4746-881B-1595B7BFAC87}" dt="2022-07-06T13:51:35.035" v="123" actId="1076"/>
          <ac:picMkLst>
            <pc:docMk/>
            <pc:sldMk cId="127420792" sldId="264"/>
            <ac:picMk id="14" creationId="{99A1F1C9-6836-BD7C-17CC-46C6F3ECADD2}"/>
          </ac:picMkLst>
        </pc:picChg>
      </pc:sldChg>
      <pc:sldChg chg="addSp modSp">
        <pc:chgData name="Pierre, Kelley" userId="S::kelley.pierre@accenture.com::75eb27c0-8a09-47b9-b68e-9e48882da6a6" providerId="AD" clId="Web-{3FB35334-F27B-4746-881B-1595B7BFAC87}" dt="2022-07-06T14:25:12.015" v="277"/>
        <pc:sldMkLst>
          <pc:docMk/>
          <pc:sldMk cId="4270235263" sldId="265"/>
        </pc:sldMkLst>
        <pc:spChg chg="add mod">
          <ac:chgData name="Pierre, Kelley" userId="S::kelley.pierre@accenture.com::75eb27c0-8a09-47b9-b68e-9e48882da6a6" providerId="AD" clId="Web-{3FB35334-F27B-4746-881B-1595B7BFAC87}" dt="2022-07-06T14:03:12.727" v="203" actId="1076"/>
          <ac:spMkLst>
            <pc:docMk/>
            <pc:sldMk cId="4270235263" sldId="265"/>
            <ac:spMk id="5" creationId="{3505AD8F-BDA7-FA78-0DA8-2D78B01C2879}"/>
          </ac:spMkLst>
        </pc:spChg>
        <pc:graphicFrameChg chg="modGraphic">
          <ac:chgData name="Pierre, Kelley" userId="S::kelley.pierre@accenture.com::75eb27c0-8a09-47b9-b68e-9e48882da6a6" providerId="AD" clId="Web-{3FB35334-F27B-4746-881B-1595B7BFAC87}" dt="2022-07-06T14:25:12.015" v="277"/>
          <ac:graphicFrameMkLst>
            <pc:docMk/>
            <pc:sldMk cId="4270235263" sldId="265"/>
            <ac:graphicFrameMk id="7" creationId="{69CB2100-137C-4779-AB90-7427C4A33A74}"/>
          </ac:graphicFrameMkLst>
        </pc:graphicFrameChg>
        <pc:picChg chg="mod">
          <ac:chgData name="Pierre, Kelley" userId="S::kelley.pierre@accenture.com::75eb27c0-8a09-47b9-b68e-9e48882da6a6" providerId="AD" clId="Web-{3FB35334-F27B-4746-881B-1595B7BFAC87}" dt="2022-07-06T13:52:54.116" v="136" actId="1076"/>
          <ac:picMkLst>
            <pc:docMk/>
            <pc:sldMk cId="4270235263" sldId="265"/>
            <ac:picMk id="2" creationId="{26A7CC4A-1077-BD6A-D105-587F7A03F941}"/>
          </ac:picMkLst>
        </pc:picChg>
        <pc:picChg chg="mod">
          <ac:chgData name="Pierre, Kelley" userId="S::kelley.pierre@accenture.com::75eb27c0-8a09-47b9-b68e-9e48882da6a6" providerId="AD" clId="Web-{3FB35334-F27B-4746-881B-1595B7BFAC87}" dt="2022-07-06T13:52:59.866" v="137" actId="1076"/>
          <ac:picMkLst>
            <pc:docMk/>
            <pc:sldMk cId="4270235263" sldId="265"/>
            <ac:picMk id="4" creationId="{44122C4C-3D7F-09ED-7F4D-2121DB7FC1BE}"/>
          </ac:picMkLst>
        </pc:picChg>
        <pc:picChg chg="mod">
          <ac:chgData name="Pierre, Kelley" userId="S::kelley.pierre@accenture.com::75eb27c0-8a09-47b9-b68e-9e48882da6a6" providerId="AD" clId="Web-{3FB35334-F27B-4746-881B-1595B7BFAC87}" dt="2022-07-06T13:53:05.585" v="138" actId="1076"/>
          <ac:picMkLst>
            <pc:docMk/>
            <pc:sldMk cId="4270235263" sldId="265"/>
            <ac:picMk id="6" creationId="{F48B5974-5CB9-EFC6-427E-587FBF166180}"/>
          </ac:picMkLst>
        </pc:picChg>
        <pc:picChg chg="mod">
          <ac:chgData name="Pierre, Kelley" userId="S::kelley.pierre@accenture.com::75eb27c0-8a09-47b9-b68e-9e48882da6a6" providerId="AD" clId="Web-{3FB35334-F27B-4746-881B-1595B7BFAC87}" dt="2022-07-06T13:53:11.851" v="139" actId="1076"/>
          <ac:picMkLst>
            <pc:docMk/>
            <pc:sldMk cId="4270235263" sldId="265"/>
            <ac:picMk id="11" creationId="{F678BE91-2128-CDB8-AB6A-4637859F09AE}"/>
          </ac:picMkLst>
        </pc:picChg>
        <pc:picChg chg="mod">
          <ac:chgData name="Pierre, Kelley" userId="S::kelley.pierre@accenture.com::75eb27c0-8a09-47b9-b68e-9e48882da6a6" providerId="AD" clId="Web-{3FB35334-F27B-4746-881B-1595B7BFAC87}" dt="2022-07-06T13:53:17.851" v="140" actId="1076"/>
          <ac:picMkLst>
            <pc:docMk/>
            <pc:sldMk cId="4270235263" sldId="265"/>
            <ac:picMk id="12" creationId="{21D1BDB1-B54E-3BFC-1690-2B75A4312FCB}"/>
          </ac:picMkLst>
        </pc:picChg>
        <pc:picChg chg="mod">
          <ac:chgData name="Pierre, Kelley" userId="S::kelley.pierre@accenture.com::75eb27c0-8a09-47b9-b68e-9e48882da6a6" providerId="AD" clId="Web-{3FB35334-F27B-4746-881B-1595B7BFAC87}" dt="2022-07-06T13:53:36.726" v="143" actId="1076"/>
          <ac:picMkLst>
            <pc:docMk/>
            <pc:sldMk cId="4270235263" sldId="265"/>
            <ac:picMk id="14" creationId="{302BBE91-DB4F-E5CC-CC83-A2098EA93538}"/>
          </ac:picMkLst>
        </pc:picChg>
      </pc:sldChg>
      <pc:sldChg chg="addSp delSp modSp">
        <pc:chgData name="Pierre, Kelley" userId="S::kelley.pierre@accenture.com::75eb27c0-8a09-47b9-b68e-9e48882da6a6" providerId="AD" clId="Web-{3FB35334-F27B-4746-881B-1595B7BFAC87}" dt="2022-07-06T14:25:19.469" v="278"/>
        <pc:sldMkLst>
          <pc:docMk/>
          <pc:sldMk cId="1392176940" sldId="266"/>
        </pc:sldMkLst>
        <pc:spChg chg="add del">
          <ac:chgData name="Pierre, Kelley" userId="S::kelley.pierre@accenture.com::75eb27c0-8a09-47b9-b68e-9e48882da6a6" providerId="AD" clId="Web-{3FB35334-F27B-4746-881B-1595B7BFAC87}" dt="2022-07-06T14:03:19.993" v="205"/>
          <ac:spMkLst>
            <pc:docMk/>
            <pc:sldMk cId="1392176940" sldId="266"/>
            <ac:spMk id="8" creationId="{BD752881-024C-731E-D12C-9010B1A7C305}"/>
          </ac:spMkLst>
        </pc:spChg>
        <pc:spChg chg="add mod">
          <ac:chgData name="Pierre, Kelley" userId="S::kelley.pierre@accenture.com::75eb27c0-8a09-47b9-b68e-9e48882da6a6" providerId="AD" clId="Web-{3FB35334-F27B-4746-881B-1595B7BFAC87}" dt="2022-07-06T14:04:07.651" v="225" actId="1076"/>
          <ac:spMkLst>
            <pc:docMk/>
            <pc:sldMk cId="1392176940" sldId="266"/>
            <ac:spMk id="13" creationId="{7A0305A3-4BD6-9FA5-E78E-90ABEA0D5349}"/>
          </ac:spMkLst>
        </pc:spChg>
        <pc:graphicFrameChg chg="modGraphic">
          <ac:chgData name="Pierre, Kelley" userId="S::kelley.pierre@accenture.com::75eb27c0-8a09-47b9-b68e-9e48882da6a6" providerId="AD" clId="Web-{3FB35334-F27B-4746-881B-1595B7BFAC87}" dt="2022-07-06T14:25:19.469" v="278"/>
          <ac:graphicFrameMkLst>
            <pc:docMk/>
            <pc:sldMk cId="1392176940" sldId="266"/>
            <ac:graphicFrameMk id="7" creationId="{69CB2100-137C-4779-AB90-7427C4A33A74}"/>
          </ac:graphicFrameMkLst>
        </pc:graphicFrameChg>
        <pc:picChg chg="mod">
          <ac:chgData name="Pierre, Kelley" userId="S::kelley.pierre@accenture.com::75eb27c0-8a09-47b9-b68e-9e48882da6a6" providerId="AD" clId="Web-{3FB35334-F27B-4746-881B-1595B7BFAC87}" dt="2022-07-06T13:54:52.994" v="156" actId="1076"/>
          <ac:picMkLst>
            <pc:docMk/>
            <pc:sldMk cId="1392176940" sldId="266"/>
            <ac:picMk id="2" creationId="{D5EEA97F-5664-2D15-FF85-3AE6444FE73A}"/>
          </ac:picMkLst>
        </pc:picChg>
        <pc:picChg chg="mod">
          <ac:chgData name="Pierre, Kelley" userId="S::kelley.pierre@accenture.com::75eb27c0-8a09-47b9-b68e-9e48882da6a6" providerId="AD" clId="Web-{3FB35334-F27B-4746-881B-1595B7BFAC87}" dt="2022-07-06T13:55:22.542" v="160" actId="1076"/>
          <ac:picMkLst>
            <pc:docMk/>
            <pc:sldMk cId="1392176940" sldId="266"/>
            <ac:picMk id="3" creationId="{2020C8ED-C581-9DA5-8271-146440B4CE24}"/>
          </ac:picMkLst>
        </pc:picChg>
        <pc:picChg chg="mod">
          <ac:chgData name="Pierre, Kelley" userId="S::kelley.pierre@accenture.com::75eb27c0-8a09-47b9-b68e-9e48882da6a6" providerId="AD" clId="Web-{3FB35334-F27B-4746-881B-1595B7BFAC87}" dt="2022-07-06T13:54:59.588" v="157" actId="1076"/>
          <ac:picMkLst>
            <pc:docMk/>
            <pc:sldMk cId="1392176940" sldId="266"/>
            <ac:picMk id="4" creationId="{0C80C0F2-E024-75CF-BD57-C3ECEB362087}"/>
          </ac:picMkLst>
        </pc:picChg>
        <pc:picChg chg="mod">
          <ac:chgData name="Pierre, Kelley" userId="S::kelley.pierre@accenture.com::75eb27c0-8a09-47b9-b68e-9e48882da6a6" providerId="AD" clId="Web-{3FB35334-F27B-4746-881B-1595B7BFAC87}" dt="2022-07-06T13:55:13.761" v="159" actId="1076"/>
          <ac:picMkLst>
            <pc:docMk/>
            <pc:sldMk cId="1392176940" sldId="266"/>
            <ac:picMk id="6" creationId="{76478448-FA90-0F8F-D27F-5E11A7EACF40}"/>
          </ac:picMkLst>
        </pc:picChg>
        <pc:picChg chg="mod">
          <ac:chgData name="Pierre, Kelley" userId="S::kelley.pierre@accenture.com::75eb27c0-8a09-47b9-b68e-9e48882da6a6" providerId="AD" clId="Web-{3FB35334-F27B-4746-881B-1595B7BFAC87}" dt="2022-07-06T13:55:06.213" v="158" actId="1076"/>
          <ac:picMkLst>
            <pc:docMk/>
            <pc:sldMk cId="1392176940" sldId="266"/>
            <ac:picMk id="11" creationId="{11AC2A9E-C33C-2265-6F7E-7F508EA6740A}"/>
          </ac:picMkLst>
        </pc:picChg>
        <pc:picChg chg="mod">
          <ac:chgData name="Pierre, Kelley" userId="S::kelley.pierre@accenture.com::75eb27c0-8a09-47b9-b68e-9e48882da6a6" providerId="AD" clId="Web-{3FB35334-F27B-4746-881B-1595B7BFAC87}" dt="2022-07-06T13:55:28.292" v="161" actId="1076"/>
          <ac:picMkLst>
            <pc:docMk/>
            <pc:sldMk cId="1392176940" sldId="266"/>
            <ac:picMk id="12" creationId="{771EFC35-BD81-3351-D061-1629935546E9}"/>
          </ac:picMkLst>
        </pc:picChg>
      </pc:sldChg>
      <pc:sldChg chg="addSp delSp modSp">
        <pc:chgData name="Pierre, Kelley" userId="S::kelley.pierre@accenture.com::75eb27c0-8a09-47b9-b68e-9e48882da6a6" providerId="AD" clId="Web-{3FB35334-F27B-4746-881B-1595B7BFAC87}" dt="2022-07-06T16:25:44.118" v="392" actId="1076"/>
        <pc:sldMkLst>
          <pc:docMk/>
          <pc:sldMk cId="2854406187" sldId="267"/>
        </pc:sldMkLst>
        <pc:spChg chg="add mod ord">
          <ac:chgData name="Pierre, Kelley" userId="S::kelley.pierre@accenture.com::75eb27c0-8a09-47b9-b68e-9e48882da6a6" providerId="AD" clId="Web-{3FB35334-F27B-4746-881B-1595B7BFAC87}" dt="2022-07-06T16:24:15.911" v="379" actId="1076"/>
          <ac:spMkLst>
            <pc:docMk/>
            <pc:sldMk cId="2854406187" sldId="267"/>
            <ac:spMk id="2" creationId="{41486E26-45A1-4F65-D924-1A500D3E1615}"/>
          </ac:spMkLst>
        </pc:spChg>
        <pc:spChg chg="add mod">
          <ac:chgData name="Pierre, Kelley" userId="S::kelley.pierre@accenture.com::75eb27c0-8a09-47b9-b68e-9e48882da6a6" providerId="AD" clId="Web-{3FB35334-F27B-4746-881B-1595B7BFAC87}" dt="2022-07-06T14:05:53.732" v="238" actId="1076"/>
          <ac:spMkLst>
            <pc:docMk/>
            <pc:sldMk cId="2854406187" sldId="267"/>
            <ac:spMk id="3" creationId="{79352706-A692-0097-5679-0FA13DB3B3E4}"/>
          </ac:spMkLst>
        </pc:spChg>
        <pc:spChg chg="mod">
          <ac:chgData name="Pierre, Kelley" userId="S::kelley.pierre@accenture.com::75eb27c0-8a09-47b9-b68e-9e48882da6a6" providerId="AD" clId="Web-{3FB35334-F27B-4746-881B-1595B7BFAC87}" dt="2022-07-06T16:25:39.570" v="391" actId="1076"/>
          <ac:spMkLst>
            <pc:docMk/>
            <pc:sldMk cId="2854406187" sldId="267"/>
            <ac:spMk id="6" creationId="{68445E3D-5505-E8D6-01C9-C6FD92033FC5}"/>
          </ac:spMkLst>
        </pc:spChg>
        <pc:spChg chg="mod">
          <ac:chgData name="Pierre, Kelley" userId="S::kelley.pierre@accenture.com::75eb27c0-8a09-47b9-b68e-9e48882da6a6" providerId="AD" clId="Web-{3FB35334-F27B-4746-881B-1595B7BFAC87}" dt="2022-07-06T16:24:27.959" v="381" actId="1076"/>
          <ac:spMkLst>
            <pc:docMk/>
            <pc:sldMk cId="2854406187" sldId="267"/>
            <ac:spMk id="9" creationId="{43AB19C9-D5C3-4F76-978A-A55F70609C4A}"/>
          </ac:spMkLst>
        </pc:spChg>
        <pc:spChg chg="mod">
          <ac:chgData name="Pierre, Kelley" userId="S::kelley.pierre@accenture.com::75eb27c0-8a09-47b9-b68e-9e48882da6a6" providerId="AD" clId="Web-{3FB35334-F27B-4746-881B-1595B7BFAC87}" dt="2022-07-06T16:25:14.804" v="389" actId="20577"/>
          <ac:spMkLst>
            <pc:docMk/>
            <pc:sldMk cId="2854406187" sldId="267"/>
            <ac:spMk id="14" creationId="{52F0C325-8A11-2F5D-867E-7417CE9F9C7E}"/>
          </ac:spMkLst>
        </pc:spChg>
        <pc:spChg chg="mod">
          <ac:chgData name="Pierre, Kelley" userId="S::kelley.pierre@accenture.com::75eb27c0-8a09-47b9-b68e-9e48882da6a6" providerId="AD" clId="Web-{3FB35334-F27B-4746-881B-1595B7BFAC87}" dt="2022-07-06T16:07:27.687" v="332" actId="1076"/>
          <ac:spMkLst>
            <pc:docMk/>
            <pc:sldMk cId="2854406187" sldId="267"/>
            <ac:spMk id="17" creationId="{E8792795-6047-B502-E2AE-3664479636C9}"/>
          </ac:spMkLst>
        </pc:spChg>
        <pc:spChg chg="del mod">
          <ac:chgData name="Pierre, Kelley" userId="S::kelley.pierre@accenture.com::75eb27c0-8a09-47b9-b68e-9e48882da6a6" providerId="AD" clId="Web-{3FB35334-F27B-4746-881B-1595B7BFAC87}" dt="2022-07-06T16:13:59.108" v="356"/>
          <ac:spMkLst>
            <pc:docMk/>
            <pc:sldMk cId="2854406187" sldId="267"/>
            <ac:spMk id="21" creationId="{7648A35F-3905-A447-774F-DAAADD279BB1}"/>
          </ac:spMkLst>
        </pc:spChg>
        <pc:spChg chg="mod">
          <ac:chgData name="Pierre, Kelley" userId="S::kelley.pierre@accenture.com::75eb27c0-8a09-47b9-b68e-9e48882da6a6" providerId="AD" clId="Web-{3FB35334-F27B-4746-881B-1595B7BFAC87}" dt="2022-07-06T16:06:41.639" v="325" actId="20577"/>
          <ac:spMkLst>
            <pc:docMk/>
            <pc:sldMk cId="2854406187" sldId="267"/>
            <ac:spMk id="23" creationId="{E8A422A1-81C9-1834-5E5B-C21C08FBBBF5}"/>
          </ac:spMkLst>
        </pc:spChg>
        <pc:grpChg chg="mod">
          <ac:chgData name="Pierre, Kelley" userId="S::kelley.pierre@accenture.com::75eb27c0-8a09-47b9-b68e-9e48882da6a6" providerId="AD" clId="Web-{3FB35334-F27B-4746-881B-1595B7BFAC87}" dt="2022-07-06T16:14:14.921" v="360" actId="1076"/>
          <ac:grpSpMkLst>
            <pc:docMk/>
            <pc:sldMk cId="2854406187" sldId="267"/>
            <ac:grpSpMk id="24" creationId="{C47CBEE5-8A0D-1994-61AE-74C3D1ABE124}"/>
          </ac:grpSpMkLst>
        </pc:grpChg>
        <pc:grpChg chg="mod">
          <ac:chgData name="Pierre, Kelley" userId="S::kelley.pierre@accenture.com::75eb27c0-8a09-47b9-b68e-9e48882da6a6" providerId="AD" clId="Web-{3FB35334-F27B-4746-881B-1595B7BFAC87}" dt="2022-07-06T16:14:11.858" v="359" actId="1076"/>
          <ac:grpSpMkLst>
            <pc:docMk/>
            <pc:sldMk cId="2854406187" sldId="267"/>
            <ac:grpSpMk id="31" creationId="{0D5A6DCD-B972-1739-4303-440AAB75E56F}"/>
          </ac:grpSpMkLst>
        </pc:grpChg>
        <pc:grpChg chg="del mod">
          <ac:chgData name="Pierre, Kelley" userId="S::kelley.pierre@accenture.com::75eb27c0-8a09-47b9-b68e-9e48882da6a6" providerId="AD" clId="Web-{3FB35334-F27B-4746-881B-1595B7BFAC87}" dt="2022-07-06T16:13:55.607" v="355"/>
          <ac:grpSpMkLst>
            <pc:docMk/>
            <pc:sldMk cId="2854406187" sldId="267"/>
            <ac:grpSpMk id="32" creationId="{AF1FA191-9024-E058-CEDB-D1B6D54DA7EC}"/>
          </ac:grpSpMkLst>
        </pc:grpChg>
        <pc:picChg chg="mod">
          <ac:chgData name="Pierre, Kelley" userId="S::kelley.pierre@accenture.com::75eb27c0-8a09-47b9-b68e-9e48882da6a6" providerId="AD" clId="Web-{3FB35334-F27B-4746-881B-1595B7BFAC87}" dt="2022-07-06T16:07:16.765" v="330" actId="1076"/>
          <ac:picMkLst>
            <pc:docMk/>
            <pc:sldMk cId="2854406187" sldId="267"/>
            <ac:picMk id="26" creationId="{002FF1D5-D71C-D579-205D-3ECC47DD9E27}"/>
          </ac:picMkLst>
        </pc:picChg>
        <pc:picChg chg="del mod">
          <ac:chgData name="Pierre, Kelley" userId="S::kelley.pierre@accenture.com::75eb27c0-8a09-47b9-b68e-9e48882da6a6" providerId="AD" clId="Web-{3FB35334-F27B-4746-881B-1595B7BFAC87}" dt="2022-07-06T16:14:50.172" v="361"/>
          <ac:picMkLst>
            <pc:docMk/>
            <pc:sldMk cId="2854406187" sldId="267"/>
            <ac:picMk id="30" creationId="{6E464430-D686-7CD2-58AB-8D065669666B}"/>
          </ac:picMkLst>
        </pc:picChg>
        <pc:picChg chg="mod">
          <ac:chgData name="Pierre, Kelley" userId="S::kelley.pierre@accenture.com::75eb27c0-8a09-47b9-b68e-9e48882da6a6" providerId="AD" clId="Web-{3FB35334-F27B-4746-881B-1595B7BFAC87}" dt="2022-07-06T16:25:44.118" v="392" actId="1076"/>
          <ac:picMkLst>
            <pc:docMk/>
            <pc:sldMk cId="2854406187" sldId="267"/>
            <ac:picMk id="34" creationId="{190AEAC9-8CA7-4384-BBE3-6BE677A009B2}"/>
          </ac:picMkLst>
        </pc:picChg>
      </pc:sldChg>
      <pc:sldChg chg="addSp delSp modSp">
        <pc:chgData name="Pierre, Kelley" userId="S::kelley.pierre@accenture.com::75eb27c0-8a09-47b9-b68e-9e48882da6a6" providerId="AD" clId="Web-{3FB35334-F27B-4746-881B-1595B7BFAC87}" dt="2022-07-06T14:21:53.885" v="264" actId="1076"/>
        <pc:sldMkLst>
          <pc:docMk/>
          <pc:sldMk cId="673640267" sldId="268"/>
        </pc:sldMkLst>
        <pc:spChg chg="add mod">
          <ac:chgData name="Pierre, Kelley" userId="S::kelley.pierre@accenture.com::75eb27c0-8a09-47b9-b68e-9e48882da6a6" providerId="AD" clId="Web-{3FB35334-F27B-4746-881B-1595B7BFAC87}" dt="2022-07-06T14:05:10.606" v="231" actId="1076"/>
          <ac:spMkLst>
            <pc:docMk/>
            <pc:sldMk cId="673640267" sldId="268"/>
            <ac:spMk id="4" creationId="{92355C9E-3298-EC79-C1C6-507B6C9DDD94}"/>
          </ac:spMkLst>
        </pc:spChg>
        <pc:graphicFrameChg chg="mod modGraphic">
          <ac:chgData name="Pierre, Kelley" userId="S::kelley.pierre@accenture.com::75eb27c0-8a09-47b9-b68e-9e48882da6a6" providerId="AD" clId="Web-{3FB35334-F27B-4746-881B-1595B7BFAC87}" dt="2022-07-06T14:20:45.258" v="262"/>
          <ac:graphicFrameMkLst>
            <pc:docMk/>
            <pc:sldMk cId="673640267" sldId="268"/>
            <ac:graphicFrameMk id="7" creationId="{69CB2100-137C-4779-AB90-7427C4A33A74}"/>
          </ac:graphicFrameMkLst>
        </pc:graphicFrameChg>
        <pc:picChg chg="del">
          <ac:chgData name="Pierre, Kelley" userId="S::kelley.pierre@accenture.com::75eb27c0-8a09-47b9-b68e-9e48882da6a6" providerId="AD" clId="Web-{3FB35334-F27B-4746-881B-1595B7BFAC87}" dt="2022-07-06T14:18:11.581" v="244"/>
          <ac:picMkLst>
            <pc:docMk/>
            <pc:sldMk cId="673640267" sldId="268"/>
            <ac:picMk id="3" creationId="{875AF489-547A-426A-9B48-68FC5955723E}"/>
          </ac:picMkLst>
        </pc:picChg>
        <pc:picChg chg="del">
          <ac:chgData name="Pierre, Kelley" userId="S::kelley.pierre@accenture.com::75eb27c0-8a09-47b9-b68e-9e48882da6a6" providerId="AD" clId="Web-{3FB35334-F27B-4746-881B-1595B7BFAC87}" dt="2022-07-06T14:18:22.254" v="247"/>
          <ac:picMkLst>
            <pc:docMk/>
            <pc:sldMk cId="673640267" sldId="268"/>
            <ac:picMk id="5" creationId="{458F6EDA-A504-4E6E-B457-DE2491D7DA75}"/>
          </ac:picMkLst>
        </pc:picChg>
        <pc:picChg chg="del">
          <ac:chgData name="Pierre, Kelley" userId="S::kelley.pierre@accenture.com::75eb27c0-8a09-47b9-b68e-9e48882da6a6" providerId="AD" clId="Web-{3FB35334-F27B-4746-881B-1595B7BFAC87}" dt="2022-07-06T14:18:25.769" v="248"/>
          <ac:picMkLst>
            <pc:docMk/>
            <pc:sldMk cId="673640267" sldId="268"/>
            <ac:picMk id="8" creationId="{8B253ED2-8119-4B7C-9BD8-A17F448A6EDE}"/>
          </ac:picMkLst>
        </pc:picChg>
        <pc:picChg chg="del">
          <ac:chgData name="Pierre, Kelley" userId="S::kelley.pierre@accenture.com::75eb27c0-8a09-47b9-b68e-9e48882da6a6" providerId="AD" clId="Web-{3FB35334-F27B-4746-881B-1595B7BFAC87}" dt="2022-07-06T14:18:26.738" v="249"/>
          <ac:picMkLst>
            <pc:docMk/>
            <pc:sldMk cId="673640267" sldId="268"/>
            <ac:picMk id="10" creationId="{94BB4C23-1DDD-4603-ADEE-EE78219A024E}"/>
          </ac:picMkLst>
        </pc:picChg>
        <pc:picChg chg="add mod">
          <ac:chgData name="Pierre, Kelley" userId="S::kelley.pierre@accenture.com::75eb27c0-8a09-47b9-b68e-9e48882da6a6" providerId="AD" clId="Web-{3FB35334-F27B-4746-881B-1595B7BFAC87}" dt="2022-07-06T14:18:20.503" v="246" actId="1076"/>
          <ac:picMkLst>
            <pc:docMk/>
            <pc:sldMk cId="673640267" sldId="268"/>
            <ac:picMk id="11" creationId="{F3206C45-4391-D0C5-F513-089A69168594}"/>
          </ac:picMkLst>
        </pc:picChg>
        <pc:picChg chg="del">
          <ac:chgData name="Pierre, Kelley" userId="S::kelley.pierre@accenture.com::75eb27c0-8a09-47b9-b68e-9e48882da6a6" providerId="AD" clId="Web-{3FB35334-F27B-4746-881B-1595B7BFAC87}" dt="2022-07-06T14:18:27.566" v="250"/>
          <ac:picMkLst>
            <pc:docMk/>
            <pc:sldMk cId="673640267" sldId="268"/>
            <ac:picMk id="13" creationId="{250C5827-AC62-42D5-80FD-9FDAF9E82F55}"/>
          </ac:picMkLst>
        </pc:picChg>
        <pc:picChg chg="add mod">
          <ac:chgData name="Pierre, Kelley" userId="S::kelley.pierre@accenture.com::75eb27c0-8a09-47b9-b68e-9e48882da6a6" providerId="AD" clId="Web-{3FB35334-F27B-4746-881B-1595B7BFAC87}" dt="2022-07-06T14:18:50.395" v="253" actId="1076"/>
          <ac:picMkLst>
            <pc:docMk/>
            <pc:sldMk cId="673640267" sldId="268"/>
            <ac:picMk id="14" creationId="{F0EDA443-829C-FF94-9FC0-0A0160B90E74}"/>
          </ac:picMkLst>
        </pc:picChg>
        <pc:picChg chg="del">
          <ac:chgData name="Pierre, Kelley" userId="S::kelley.pierre@accenture.com::75eb27c0-8a09-47b9-b68e-9e48882da6a6" providerId="AD" clId="Web-{3FB35334-F27B-4746-881B-1595B7BFAC87}" dt="2022-07-06T14:18:28.488" v="251"/>
          <ac:picMkLst>
            <pc:docMk/>
            <pc:sldMk cId="673640267" sldId="268"/>
            <ac:picMk id="16" creationId="{840137F6-57F1-4D3B-8EA7-D625BEA04374}"/>
          </ac:picMkLst>
        </pc:picChg>
        <pc:picChg chg="add mod">
          <ac:chgData name="Pierre, Kelley" userId="S::kelley.pierre@accenture.com::75eb27c0-8a09-47b9-b68e-9e48882da6a6" providerId="AD" clId="Web-{3FB35334-F27B-4746-881B-1595B7BFAC87}" dt="2022-07-06T14:19:24.615" v="256" actId="1076"/>
          <ac:picMkLst>
            <pc:docMk/>
            <pc:sldMk cId="673640267" sldId="268"/>
            <ac:picMk id="17" creationId="{688C5EB7-E910-7891-EFC7-83003ECC821B}"/>
          </ac:picMkLst>
        </pc:picChg>
        <pc:picChg chg="add mod">
          <ac:chgData name="Pierre, Kelley" userId="S::kelley.pierre@accenture.com::75eb27c0-8a09-47b9-b68e-9e48882da6a6" providerId="AD" clId="Web-{3FB35334-F27B-4746-881B-1595B7BFAC87}" dt="2022-07-06T14:19:42.584" v="258" actId="1076"/>
          <ac:picMkLst>
            <pc:docMk/>
            <pc:sldMk cId="673640267" sldId="268"/>
            <ac:picMk id="19" creationId="{FFC9C48F-9829-ECD2-3EF5-20686E6C8B97}"/>
          </ac:picMkLst>
        </pc:picChg>
        <pc:picChg chg="add mod">
          <ac:chgData name="Pierre, Kelley" userId="S::kelley.pierre@accenture.com::75eb27c0-8a09-47b9-b68e-9e48882da6a6" providerId="AD" clId="Web-{3FB35334-F27B-4746-881B-1595B7BFAC87}" dt="2022-07-06T14:20:35.820" v="260" actId="1076"/>
          <ac:picMkLst>
            <pc:docMk/>
            <pc:sldMk cId="673640267" sldId="268"/>
            <ac:picMk id="21" creationId="{C00CE7D8-BD6D-86A1-F841-825F002C624B}"/>
          </ac:picMkLst>
        </pc:picChg>
        <pc:picChg chg="add mod">
          <ac:chgData name="Pierre, Kelley" userId="S::kelley.pierre@accenture.com::75eb27c0-8a09-47b9-b68e-9e48882da6a6" providerId="AD" clId="Web-{3FB35334-F27B-4746-881B-1595B7BFAC87}" dt="2022-07-06T14:21:53.885" v="264" actId="1076"/>
          <ac:picMkLst>
            <pc:docMk/>
            <pc:sldMk cId="673640267" sldId="268"/>
            <ac:picMk id="23" creationId="{3D6F6E3D-5529-3B00-52DE-F9B7EA1D35D3}"/>
          </ac:picMkLst>
        </pc:picChg>
      </pc:sldChg>
      <pc:sldChg chg="addSp delSp modSp">
        <pc:chgData name="Pierre, Kelley" userId="S::kelley.pierre@accenture.com::75eb27c0-8a09-47b9-b68e-9e48882da6a6" providerId="AD" clId="Web-{3FB35334-F27B-4746-881B-1595B7BFAC87}" dt="2022-07-06T16:44:47.253" v="407" actId="14100"/>
        <pc:sldMkLst>
          <pc:docMk/>
          <pc:sldMk cId="625372562" sldId="2134805193"/>
        </pc:sldMkLst>
        <pc:spChg chg="add del">
          <ac:chgData name="Pierre, Kelley" userId="S::kelley.pierre@accenture.com::75eb27c0-8a09-47b9-b68e-9e48882da6a6" providerId="AD" clId="Web-{3FB35334-F27B-4746-881B-1595B7BFAC87}" dt="2022-07-06T14:25:54.485" v="279"/>
          <ac:spMkLst>
            <pc:docMk/>
            <pc:sldMk cId="625372562" sldId="2134805193"/>
            <ac:spMk id="2" creationId="{489DC500-0D3E-A142-C217-CA871A39D46E}"/>
          </ac:spMkLst>
        </pc:spChg>
        <pc:spChg chg="add mod">
          <ac:chgData name="Pierre, Kelley" userId="S::kelley.pierre@accenture.com::75eb27c0-8a09-47b9-b68e-9e48882da6a6" providerId="AD" clId="Web-{3FB35334-F27B-4746-881B-1595B7BFAC87}" dt="2022-07-06T13:58:38.501" v="172" actId="1076"/>
          <ac:spMkLst>
            <pc:docMk/>
            <pc:sldMk cId="625372562" sldId="2134805193"/>
            <ac:spMk id="3" creationId="{FD2ABC9C-299E-3313-F1E0-966DB0DD0F01}"/>
          </ac:spMkLst>
        </pc:spChg>
        <pc:spChg chg="add del">
          <ac:chgData name="Pierre, Kelley" userId="S::kelley.pierre@accenture.com::75eb27c0-8a09-47b9-b68e-9e48882da6a6" providerId="AD" clId="Web-{3FB35334-F27B-4746-881B-1595B7BFAC87}" dt="2022-07-06T13:56:28.466" v="165"/>
          <ac:spMkLst>
            <pc:docMk/>
            <pc:sldMk cId="625372562" sldId="2134805193"/>
            <ac:spMk id="4" creationId="{87C5F9CC-B370-F24E-4B85-16974517E29A}"/>
          </ac:spMkLst>
        </pc:spChg>
        <pc:spChg chg="add ord">
          <ac:chgData name="Pierre, Kelley" userId="S::kelley.pierre@accenture.com::75eb27c0-8a09-47b9-b68e-9e48882da6a6" providerId="AD" clId="Web-{3FB35334-F27B-4746-881B-1595B7BFAC87}" dt="2022-07-06T16:32:17.101" v="395"/>
          <ac:spMkLst>
            <pc:docMk/>
            <pc:sldMk cId="625372562" sldId="2134805193"/>
            <ac:spMk id="5" creationId="{A25DD6D9-56EE-88E3-473F-F03FF3574EDD}"/>
          </ac:spMkLst>
        </pc:spChg>
        <pc:spChg chg="mod">
          <ac:chgData name="Pierre, Kelley" userId="S::kelley.pierre@accenture.com::75eb27c0-8a09-47b9-b68e-9e48882da6a6" providerId="AD" clId="Web-{3FB35334-F27B-4746-881B-1595B7BFAC87}" dt="2022-07-06T16:32:52.977" v="399" actId="1076"/>
          <ac:spMkLst>
            <pc:docMk/>
            <pc:sldMk cId="625372562" sldId="2134805193"/>
            <ac:spMk id="6" creationId="{5860B0B2-39E5-A2A9-DDBC-29E5957985E7}"/>
          </ac:spMkLst>
        </pc:spChg>
        <pc:picChg chg="add mod">
          <ac:chgData name="Pierre, Kelley" userId="S::kelley.pierre@accenture.com::75eb27c0-8a09-47b9-b68e-9e48882da6a6" providerId="AD" clId="Web-{3FB35334-F27B-4746-881B-1595B7BFAC87}" dt="2022-07-06T16:44:47.253" v="407" actId="14100"/>
          <ac:picMkLst>
            <pc:docMk/>
            <pc:sldMk cId="625372562" sldId="2134805193"/>
            <ac:picMk id="2" creationId="{B6F60CE6-E7EE-FD0B-375C-2441700EE887}"/>
          </ac:picMkLst>
        </pc:picChg>
        <pc:picChg chg="add mod">
          <ac:chgData name="Pierre, Kelley" userId="S::kelley.pierre@accenture.com::75eb27c0-8a09-47b9-b68e-9e48882da6a6" providerId="AD" clId="Web-{3FB35334-F27B-4746-881B-1595B7BFAC87}" dt="2022-07-06T16:44:43.175" v="406" actId="14100"/>
          <ac:picMkLst>
            <pc:docMk/>
            <pc:sldMk cId="625372562" sldId="2134805193"/>
            <ac:picMk id="7" creationId="{B9F43FF6-3101-BF1D-4D2B-08EEBC16B8D4}"/>
          </ac:picMkLst>
        </pc:picChg>
      </pc:sldChg>
      <pc:sldChg chg="addSp delSp modSp add replId">
        <pc:chgData name="Pierre, Kelley" userId="S::kelley.pierre@accenture.com::75eb27c0-8a09-47b9-b68e-9e48882da6a6" providerId="AD" clId="Web-{3FB35334-F27B-4746-881B-1595B7BFAC87}" dt="2022-07-06T16:26:05.931" v="393" actId="1076"/>
        <pc:sldMkLst>
          <pc:docMk/>
          <pc:sldMk cId="994556404" sldId="2134805194"/>
        </pc:sldMkLst>
        <pc:spChg chg="add mod ord">
          <ac:chgData name="Pierre, Kelley" userId="S::kelley.pierre@accenture.com::75eb27c0-8a09-47b9-b68e-9e48882da6a6" providerId="AD" clId="Web-{3FB35334-F27B-4746-881B-1595B7BFAC87}" dt="2022-07-06T16:22:59.127" v="376" actId="1076"/>
          <ac:spMkLst>
            <pc:docMk/>
            <pc:sldMk cId="994556404" sldId="2134805194"/>
            <ac:spMk id="4" creationId="{39F0E512-2A17-2E3F-9495-CC6BCCDF12B9}"/>
          </ac:spMkLst>
        </pc:spChg>
        <pc:spChg chg="del mod">
          <ac:chgData name="Pierre, Kelley" userId="S::kelley.pierre@accenture.com::75eb27c0-8a09-47b9-b68e-9e48882da6a6" providerId="AD" clId="Web-{3FB35334-F27B-4746-881B-1595B7BFAC87}" dt="2022-07-06T16:08:24.361" v="340"/>
          <ac:spMkLst>
            <pc:docMk/>
            <pc:sldMk cId="994556404" sldId="2134805194"/>
            <ac:spMk id="6" creationId="{68445E3D-5505-E8D6-01C9-C6FD92033FC5}"/>
          </ac:spMkLst>
        </pc:spChg>
        <pc:spChg chg="mod">
          <ac:chgData name="Pierre, Kelley" userId="S::kelley.pierre@accenture.com::75eb27c0-8a09-47b9-b68e-9e48882da6a6" providerId="AD" clId="Web-{3FB35334-F27B-4746-881B-1595B7BFAC87}" dt="2022-07-06T16:23:14.362" v="377" actId="1076"/>
          <ac:spMkLst>
            <pc:docMk/>
            <pc:sldMk cId="994556404" sldId="2134805194"/>
            <ac:spMk id="9" creationId="{43AB19C9-D5C3-4F76-978A-A55F70609C4A}"/>
          </ac:spMkLst>
        </pc:spChg>
        <pc:spChg chg="mod">
          <ac:chgData name="Pierre, Kelley" userId="S::kelley.pierre@accenture.com::75eb27c0-8a09-47b9-b68e-9e48882da6a6" providerId="AD" clId="Web-{3FB35334-F27B-4746-881B-1595B7BFAC87}" dt="2022-07-06T16:26:05.931" v="393" actId="1076"/>
          <ac:spMkLst>
            <pc:docMk/>
            <pc:sldMk cId="994556404" sldId="2134805194"/>
            <ac:spMk id="14" creationId="{52F0C325-8A11-2F5D-867E-7417CE9F9C7E}"/>
          </ac:spMkLst>
        </pc:spChg>
        <pc:spChg chg="mod">
          <ac:chgData name="Pierre, Kelley" userId="S::kelley.pierre@accenture.com::75eb27c0-8a09-47b9-b68e-9e48882da6a6" providerId="AD" clId="Web-{3FB35334-F27B-4746-881B-1595B7BFAC87}" dt="2022-07-06T16:11:01.101" v="347" actId="1076"/>
          <ac:spMkLst>
            <pc:docMk/>
            <pc:sldMk cId="994556404" sldId="2134805194"/>
            <ac:spMk id="21" creationId="{7648A35F-3905-A447-774F-DAAADD279BB1}"/>
          </ac:spMkLst>
        </pc:spChg>
        <pc:grpChg chg="del">
          <ac:chgData name="Pierre, Kelley" userId="S::kelley.pierre@accenture.com::75eb27c0-8a09-47b9-b68e-9e48882da6a6" providerId="AD" clId="Web-{3FB35334-F27B-4746-881B-1595B7BFAC87}" dt="2022-07-06T16:08:25.814" v="341"/>
          <ac:grpSpMkLst>
            <pc:docMk/>
            <pc:sldMk cId="994556404" sldId="2134805194"/>
            <ac:grpSpMk id="24" creationId="{C47CBEE5-8A0D-1994-61AE-74C3D1ABE124}"/>
          </ac:grpSpMkLst>
        </pc:grpChg>
        <pc:grpChg chg="del">
          <ac:chgData name="Pierre, Kelley" userId="S::kelley.pierre@accenture.com::75eb27c0-8a09-47b9-b68e-9e48882da6a6" providerId="AD" clId="Web-{3FB35334-F27B-4746-881B-1595B7BFAC87}" dt="2022-07-06T16:08:35.002" v="342"/>
          <ac:grpSpMkLst>
            <pc:docMk/>
            <pc:sldMk cId="994556404" sldId="2134805194"/>
            <ac:grpSpMk id="31" creationId="{0D5A6DCD-B972-1739-4303-440AAB75E56F}"/>
          </ac:grpSpMkLst>
        </pc:grpChg>
        <pc:grpChg chg="mod">
          <ac:chgData name="Pierre, Kelley" userId="S::kelley.pierre@accenture.com::75eb27c0-8a09-47b9-b68e-9e48882da6a6" providerId="AD" clId="Web-{3FB35334-F27B-4746-881B-1595B7BFAC87}" dt="2022-07-06T16:09:13.129" v="346" actId="1076"/>
          <ac:grpSpMkLst>
            <pc:docMk/>
            <pc:sldMk cId="994556404" sldId="2134805194"/>
            <ac:grpSpMk id="32" creationId="{AF1FA191-9024-E058-CEDB-D1B6D54DA7EC}"/>
          </ac:grpSpMkLst>
        </pc:grpChg>
        <pc:picChg chg="mod">
          <ac:chgData name="Pierre, Kelley" userId="S::kelley.pierre@accenture.com::75eb27c0-8a09-47b9-b68e-9e48882da6a6" providerId="AD" clId="Web-{3FB35334-F27B-4746-881B-1595B7BFAC87}" dt="2022-07-06T16:13:36.810" v="354" actId="14100"/>
          <ac:picMkLst>
            <pc:docMk/>
            <pc:sldMk cId="994556404" sldId="2134805194"/>
            <ac:picMk id="30" creationId="{6E464430-D686-7CD2-58AB-8D065669666B}"/>
          </ac:picMkLst>
        </pc:picChg>
        <pc:picChg chg="del">
          <ac:chgData name="Pierre, Kelley" userId="S::kelley.pierre@accenture.com::75eb27c0-8a09-47b9-b68e-9e48882da6a6" providerId="AD" clId="Web-{3FB35334-F27B-4746-881B-1595B7BFAC87}" dt="2022-07-06T16:08:18.345" v="338"/>
          <ac:picMkLst>
            <pc:docMk/>
            <pc:sldMk cId="994556404" sldId="2134805194"/>
            <ac:picMk id="34" creationId="{190AEAC9-8CA7-4384-BBE3-6BE677A009B2}"/>
          </ac:picMkLst>
        </pc:picChg>
      </pc:sldChg>
    </pc:docChg>
  </pc:docChgLst>
  <pc:docChgLst>
    <pc:chgData name="Okoye, Ogo" userId="S::ogochukwu.okoye@accenture.com::c42de8fc-8b09-4869-a5db-b98bbd7b16ce" providerId="AD" clId="Web-{BD765853-2405-0AE9-C15D-4F5D12CF19D1}"/>
    <pc:docChg chg="modSld">
      <pc:chgData name="Okoye, Ogo" userId="S::ogochukwu.okoye@accenture.com::c42de8fc-8b09-4869-a5db-b98bbd7b16ce" providerId="AD" clId="Web-{BD765853-2405-0AE9-C15D-4F5D12CF19D1}" dt="2022-07-06T21:04:35.872" v="0"/>
      <pc:docMkLst>
        <pc:docMk/>
      </pc:docMkLst>
      <pc:sldChg chg="mod modShow">
        <pc:chgData name="Okoye, Ogo" userId="S::ogochukwu.okoye@accenture.com::c42de8fc-8b09-4869-a5db-b98bbd7b16ce" providerId="AD" clId="Web-{BD765853-2405-0AE9-C15D-4F5D12CF19D1}" dt="2022-07-06T21:04:35.872" v="0"/>
        <pc:sldMkLst>
          <pc:docMk/>
          <pc:sldMk cId="3786903442" sldId="2134805192"/>
        </pc:sldMkLst>
      </pc:sldChg>
    </pc:docChg>
  </pc:docChgLst>
  <pc:docChgLst>
    <pc:chgData name="Okoye, Ogo" userId="S::ogochukwu.okoye@accenture.com::c42de8fc-8b09-4869-a5db-b98bbd7b16ce" providerId="AD" clId="Web-{9B321772-FB74-C410-BDED-625735A29860}"/>
    <pc:docChg chg="modSld">
      <pc:chgData name="Okoye, Ogo" userId="S::ogochukwu.okoye@accenture.com::c42de8fc-8b09-4869-a5db-b98bbd7b16ce" providerId="AD" clId="Web-{9B321772-FB74-C410-BDED-625735A29860}" dt="2022-07-12T19:15:02.983" v="18"/>
      <pc:docMkLst>
        <pc:docMk/>
      </pc:docMkLst>
      <pc:sldChg chg="modSp">
        <pc:chgData name="Okoye, Ogo" userId="S::ogochukwu.okoye@accenture.com::c42de8fc-8b09-4869-a5db-b98bbd7b16ce" providerId="AD" clId="Web-{9B321772-FB74-C410-BDED-625735A29860}" dt="2022-07-12T19:12:23.557" v="7" actId="20577"/>
        <pc:sldMkLst>
          <pc:docMk/>
          <pc:sldMk cId="2432513406" sldId="2134805206"/>
        </pc:sldMkLst>
        <pc:spChg chg="mod">
          <ac:chgData name="Okoye, Ogo" userId="S::ogochukwu.okoye@accenture.com::c42de8fc-8b09-4869-a5db-b98bbd7b16ce" providerId="AD" clId="Web-{9B321772-FB74-C410-BDED-625735A29860}" dt="2022-07-12T19:12:23.557" v="7" actId="20577"/>
          <ac:spMkLst>
            <pc:docMk/>
            <pc:sldMk cId="2432513406" sldId="2134805206"/>
            <ac:spMk id="9" creationId="{43AB19C9-D5C3-4F76-978A-A55F70609C4A}"/>
          </ac:spMkLst>
        </pc:spChg>
      </pc:sldChg>
      <pc:sldChg chg="modSp">
        <pc:chgData name="Okoye, Ogo" userId="S::ogochukwu.okoye@accenture.com::c42de8fc-8b09-4869-a5db-b98bbd7b16ce" providerId="AD" clId="Web-{9B321772-FB74-C410-BDED-625735A29860}" dt="2022-07-12T19:12:29.572" v="13" actId="20577"/>
        <pc:sldMkLst>
          <pc:docMk/>
          <pc:sldMk cId="907025948" sldId="2134805207"/>
        </pc:sldMkLst>
        <pc:spChg chg="mod">
          <ac:chgData name="Okoye, Ogo" userId="S::ogochukwu.okoye@accenture.com::c42de8fc-8b09-4869-a5db-b98bbd7b16ce" providerId="AD" clId="Web-{9B321772-FB74-C410-BDED-625735A29860}" dt="2022-07-12T19:12:29.572" v="13" actId="20577"/>
          <ac:spMkLst>
            <pc:docMk/>
            <pc:sldMk cId="907025948" sldId="2134805207"/>
            <ac:spMk id="9" creationId="{43AB19C9-D5C3-4F76-978A-A55F70609C4A}"/>
          </ac:spMkLst>
        </pc:spChg>
      </pc:sldChg>
      <pc:sldChg chg="modSp">
        <pc:chgData name="Okoye, Ogo" userId="S::ogochukwu.okoye@accenture.com::c42de8fc-8b09-4869-a5db-b98bbd7b16ce" providerId="AD" clId="Web-{9B321772-FB74-C410-BDED-625735A29860}" dt="2022-07-12T19:14:10.029" v="15" actId="20577"/>
        <pc:sldMkLst>
          <pc:docMk/>
          <pc:sldMk cId="4182820077" sldId="2134805208"/>
        </pc:sldMkLst>
        <pc:spChg chg="mod">
          <ac:chgData name="Okoye, Ogo" userId="S::ogochukwu.okoye@accenture.com::c42de8fc-8b09-4869-a5db-b98bbd7b16ce" providerId="AD" clId="Web-{9B321772-FB74-C410-BDED-625735A29860}" dt="2022-07-12T19:14:10.029" v="15" actId="20577"/>
          <ac:spMkLst>
            <pc:docMk/>
            <pc:sldMk cId="4182820077" sldId="2134805208"/>
            <ac:spMk id="9" creationId="{43AB19C9-D5C3-4F76-978A-A55F70609C4A}"/>
          </ac:spMkLst>
        </pc:spChg>
      </pc:sldChg>
      <pc:sldChg chg="modSp">
        <pc:chgData name="Okoye, Ogo" userId="S::ogochukwu.okoye@accenture.com::c42de8fc-8b09-4869-a5db-b98bbd7b16ce" providerId="AD" clId="Web-{9B321772-FB74-C410-BDED-625735A29860}" dt="2022-07-12T19:15:02.983" v="18"/>
        <pc:sldMkLst>
          <pc:docMk/>
          <pc:sldMk cId="2892209149" sldId="2134805214"/>
        </pc:sldMkLst>
        <pc:spChg chg="mod">
          <ac:chgData name="Okoye, Ogo" userId="S::ogochukwu.okoye@accenture.com::c42de8fc-8b09-4869-a5db-b98bbd7b16ce" providerId="AD" clId="Web-{9B321772-FB74-C410-BDED-625735A29860}" dt="2022-07-12T19:15:02.983" v="18"/>
          <ac:spMkLst>
            <pc:docMk/>
            <pc:sldMk cId="2892209149" sldId="2134805214"/>
            <ac:spMk id="9" creationId="{43AB19C9-D5C3-4F76-978A-A55F70609C4A}"/>
          </ac:spMkLst>
        </pc:spChg>
      </pc:sldChg>
    </pc:docChg>
  </pc:docChgLst>
  <pc:docChgLst>
    <pc:chgData name="Pierre, Kelley" userId="S::kelley.pierre@accenture.com::75eb27c0-8a09-47b9-b68e-9e48882da6a6" providerId="AD" clId="Web-{60634083-C8B6-08C4-D9DC-855F9D1E8858}"/>
    <pc:docChg chg="addSld delSld modSld sldOrd">
      <pc:chgData name="Pierre, Kelley" userId="S::kelley.pierre@accenture.com::75eb27c0-8a09-47b9-b68e-9e48882da6a6" providerId="AD" clId="Web-{60634083-C8B6-08C4-D9DC-855F9D1E8858}" dt="2022-07-12T19:03:36.913" v="268"/>
      <pc:docMkLst>
        <pc:docMk/>
      </pc:docMkLst>
      <pc:sldChg chg="add del mod modShow">
        <pc:chgData name="Pierre, Kelley" userId="S::kelley.pierre@accenture.com::75eb27c0-8a09-47b9-b68e-9e48882da6a6" providerId="AD" clId="Web-{60634083-C8B6-08C4-D9DC-855F9D1E8858}" dt="2022-07-12T16:02:00.389" v="117"/>
        <pc:sldMkLst>
          <pc:docMk/>
          <pc:sldMk cId="2530484429" sldId="260"/>
        </pc:sldMkLst>
      </pc:sldChg>
      <pc:sldChg chg="add del mod modShow">
        <pc:chgData name="Pierre, Kelley" userId="S::kelley.pierre@accenture.com::75eb27c0-8a09-47b9-b68e-9e48882da6a6" providerId="AD" clId="Web-{60634083-C8B6-08C4-D9DC-855F9D1E8858}" dt="2022-07-12T16:02:00.327" v="116"/>
        <pc:sldMkLst>
          <pc:docMk/>
          <pc:sldMk cId="4194863863" sldId="261"/>
        </pc:sldMkLst>
      </pc:sldChg>
      <pc:sldChg chg="ord">
        <pc:chgData name="Pierre, Kelley" userId="S::kelley.pierre@accenture.com::75eb27c0-8a09-47b9-b68e-9e48882da6a6" providerId="AD" clId="Web-{60634083-C8B6-08C4-D9DC-855F9D1E8858}" dt="2022-07-12T16:02:22.249" v="128"/>
        <pc:sldMkLst>
          <pc:docMk/>
          <pc:sldMk cId="2854406187" sldId="267"/>
        </pc:sldMkLst>
      </pc:sldChg>
      <pc:sldChg chg="ord">
        <pc:chgData name="Pierre, Kelley" userId="S::kelley.pierre@accenture.com::75eb27c0-8a09-47b9-b68e-9e48882da6a6" providerId="AD" clId="Web-{60634083-C8B6-08C4-D9DC-855F9D1E8858}" dt="2022-07-12T16:02:22.249" v="127"/>
        <pc:sldMkLst>
          <pc:docMk/>
          <pc:sldMk cId="994556404" sldId="2134805194"/>
        </pc:sldMkLst>
      </pc:sldChg>
      <pc:sldChg chg="add del mod modShow">
        <pc:chgData name="Pierre, Kelley" userId="S::kelley.pierre@accenture.com::75eb27c0-8a09-47b9-b68e-9e48882da6a6" providerId="AD" clId="Web-{60634083-C8B6-08C4-D9DC-855F9D1E8858}" dt="2022-07-12T16:02:00.998" v="124"/>
        <pc:sldMkLst>
          <pc:docMk/>
          <pc:sldMk cId="3668454863" sldId="2134805197"/>
        </pc:sldMkLst>
      </pc:sldChg>
      <pc:sldChg chg="add del mod modShow">
        <pc:chgData name="Pierre, Kelley" userId="S::kelley.pierre@accenture.com::75eb27c0-8a09-47b9-b68e-9e48882da6a6" providerId="AD" clId="Web-{60634083-C8B6-08C4-D9DC-855F9D1E8858}" dt="2022-07-12T16:02:00.467" v="118"/>
        <pc:sldMkLst>
          <pc:docMk/>
          <pc:sldMk cId="3955135530" sldId="2134805198"/>
        </pc:sldMkLst>
      </pc:sldChg>
      <pc:sldChg chg="add del mod modShow">
        <pc:chgData name="Pierre, Kelley" userId="S::kelley.pierre@accenture.com::75eb27c0-8a09-47b9-b68e-9e48882da6a6" providerId="AD" clId="Web-{60634083-C8B6-08C4-D9DC-855F9D1E8858}" dt="2022-07-12T16:02:00.530" v="119"/>
        <pc:sldMkLst>
          <pc:docMk/>
          <pc:sldMk cId="340157503" sldId="2134805199"/>
        </pc:sldMkLst>
      </pc:sldChg>
      <pc:sldChg chg="add del mod modShow">
        <pc:chgData name="Pierre, Kelley" userId="S::kelley.pierre@accenture.com::75eb27c0-8a09-47b9-b68e-9e48882da6a6" providerId="AD" clId="Web-{60634083-C8B6-08C4-D9DC-855F9D1E8858}" dt="2022-07-12T16:02:00.592" v="120"/>
        <pc:sldMkLst>
          <pc:docMk/>
          <pc:sldMk cId="622821397" sldId="2134805200"/>
        </pc:sldMkLst>
      </pc:sldChg>
      <pc:sldChg chg="add del mod modShow">
        <pc:chgData name="Pierre, Kelley" userId="S::kelley.pierre@accenture.com::75eb27c0-8a09-47b9-b68e-9e48882da6a6" providerId="AD" clId="Web-{60634083-C8B6-08C4-D9DC-855F9D1E8858}" dt="2022-07-12T16:02:00.655" v="121"/>
        <pc:sldMkLst>
          <pc:docMk/>
          <pc:sldMk cId="20025668" sldId="2134805201"/>
        </pc:sldMkLst>
      </pc:sldChg>
      <pc:sldChg chg="add del mod modShow">
        <pc:chgData name="Pierre, Kelley" userId="S::kelley.pierre@accenture.com::75eb27c0-8a09-47b9-b68e-9e48882da6a6" providerId="AD" clId="Web-{60634083-C8B6-08C4-D9DC-855F9D1E8858}" dt="2022-07-12T16:02:00.733" v="122"/>
        <pc:sldMkLst>
          <pc:docMk/>
          <pc:sldMk cId="3549426002" sldId="2134805202"/>
        </pc:sldMkLst>
      </pc:sldChg>
      <pc:sldChg chg="add del mod modShow">
        <pc:chgData name="Pierre, Kelley" userId="S::kelley.pierre@accenture.com::75eb27c0-8a09-47b9-b68e-9e48882da6a6" providerId="AD" clId="Web-{60634083-C8B6-08C4-D9DC-855F9D1E8858}" dt="2022-07-12T16:02:00.795" v="123"/>
        <pc:sldMkLst>
          <pc:docMk/>
          <pc:sldMk cId="2829868719" sldId="2134805203"/>
        </pc:sldMkLst>
      </pc:sldChg>
      <pc:sldChg chg="ord">
        <pc:chgData name="Pierre, Kelley" userId="S::kelley.pierre@accenture.com::75eb27c0-8a09-47b9-b68e-9e48882da6a6" providerId="AD" clId="Web-{60634083-C8B6-08C4-D9DC-855F9D1E8858}" dt="2022-07-12T16:01:22.310" v="97"/>
        <pc:sldMkLst>
          <pc:docMk/>
          <pc:sldMk cId="4254675854" sldId="2134805204"/>
        </pc:sldMkLst>
      </pc:sldChg>
      <pc:sldChg chg="ord">
        <pc:chgData name="Pierre, Kelley" userId="S::kelley.pierre@accenture.com::75eb27c0-8a09-47b9-b68e-9e48882da6a6" providerId="AD" clId="Web-{60634083-C8B6-08C4-D9DC-855F9D1E8858}" dt="2022-07-12T16:01:22.310" v="96"/>
        <pc:sldMkLst>
          <pc:docMk/>
          <pc:sldMk cId="3950332657" sldId="2134805205"/>
        </pc:sldMkLst>
      </pc:sldChg>
      <pc:sldChg chg="ord">
        <pc:chgData name="Pierre, Kelley" userId="S::kelley.pierre@accenture.com::75eb27c0-8a09-47b9-b68e-9e48882da6a6" providerId="AD" clId="Web-{60634083-C8B6-08C4-D9DC-855F9D1E8858}" dt="2022-07-12T16:01:22.310" v="95"/>
        <pc:sldMkLst>
          <pc:docMk/>
          <pc:sldMk cId="2432513406" sldId="2134805206"/>
        </pc:sldMkLst>
      </pc:sldChg>
      <pc:sldChg chg="addSp modSp ord">
        <pc:chgData name="Pierre, Kelley" userId="S::kelley.pierre@accenture.com::75eb27c0-8a09-47b9-b68e-9e48882da6a6" providerId="AD" clId="Web-{60634083-C8B6-08C4-D9DC-855F9D1E8858}" dt="2022-07-12T16:01:22.310" v="94"/>
        <pc:sldMkLst>
          <pc:docMk/>
          <pc:sldMk cId="907025948" sldId="2134805207"/>
        </pc:sldMkLst>
        <pc:picChg chg="add mod">
          <ac:chgData name="Pierre, Kelley" userId="S::kelley.pierre@accenture.com::75eb27c0-8a09-47b9-b68e-9e48882da6a6" providerId="AD" clId="Web-{60634083-C8B6-08C4-D9DC-855F9D1E8858}" dt="2022-07-12T15:10:01.356" v="8" actId="14100"/>
          <ac:picMkLst>
            <pc:docMk/>
            <pc:sldMk cId="907025948" sldId="2134805207"/>
            <ac:picMk id="4" creationId="{0F8B613D-6928-0882-8B94-EEA6105C6DFF}"/>
          </ac:picMkLst>
        </pc:picChg>
        <pc:picChg chg="mod">
          <ac:chgData name="Pierre, Kelley" userId="S::kelley.pierre@accenture.com::75eb27c0-8a09-47b9-b68e-9e48882da6a6" providerId="AD" clId="Web-{60634083-C8B6-08C4-D9DC-855F9D1E8858}" dt="2022-07-12T15:09:25.323" v="2" actId="1076"/>
          <ac:picMkLst>
            <pc:docMk/>
            <pc:sldMk cId="907025948" sldId="2134805207"/>
            <ac:picMk id="13" creationId="{FDC61B82-0712-F914-B5A1-AEB0C02FF20A}"/>
          </ac:picMkLst>
        </pc:picChg>
      </pc:sldChg>
      <pc:sldChg chg="addSp modSp ord">
        <pc:chgData name="Pierre, Kelley" userId="S::kelley.pierre@accenture.com::75eb27c0-8a09-47b9-b68e-9e48882da6a6" providerId="AD" clId="Web-{60634083-C8B6-08C4-D9DC-855F9D1E8858}" dt="2022-07-12T16:01:22.310" v="93"/>
        <pc:sldMkLst>
          <pc:docMk/>
          <pc:sldMk cId="4182820077" sldId="2134805208"/>
        </pc:sldMkLst>
        <pc:picChg chg="add mod">
          <ac:chgData name="Pierre, Kelley" userId="S::kelley.pierre@accenture.com::75eb27c0-8a09-47b9-b68e-9e48882da6a6" providerId="AD" clId="Web-{60634083-C8B6-08C4-D9DC-855F9D1E8858}" dt="2022-07-12T15:12:01.250" v="12" actId="14100"/>
          <ac:picMkLst>
            <pc:docMk/>
            <pc:sldMk cId="4182820077" sldId="2134805208"/>
            <ac:picMk id="2" creationId="{5CCFE3BE-2D8F-6B33-00FE-E1DB3205C9E3}"/>
          </ac:picMkLst>
        </pc:picChg>
      </pc:sldChg>
      <pc:sldChg chg="addSp modSp ord">
        <pc:chgData name="Pierre, Kelley" userId="S::kelley.pierre@accenture.com::75eb27c0-8a09-47b9-b68e-9e48882da6a6" providerId="AD" clId="Web-{60634083-C8B6-08C4-D9DC-855F9D1E8858}" dt="2022-07-12T16:01:22.310" v="90"/>
        <pc:sldMkLst>
          <pc:docMk/>
          <pc:sldMk cId="1968659463" sldId="2134805209"/>
        </pc:sldMkLst>
        <pc:spChg chg="mod">
          <ac:chgData name="Pierre, Kelley" userId="S::kelley.pierre@accenture.com::75eb27c0-8a09-47b9-b68e-9e48882da6a6" providerId="AD" clId="Web-{60634083-C8B6-08C4-D9DC-855F9D1E8858}" dt="2022-07-12T15:37:19.718" v="80" actId="20577"/>
          <ac:spMkLst>
            <pc:docMk/>
            <pc:sldMk cId="1968659463" sldId="2134805209"/>
            <ac:spMk id="9" creationId="{43AB19C9-D5C3-4F76-978A-A55F70609C4A}"/>
          </ac:spMkLst>
        </pc:spChg>
        <pc:picChg chg="add mod">
          <ac:chgData name="Pierre, Kelley" userId="S::kelley.pierre@accenture.com::75eb27c0-8a09-47b9-b68e-9e48882da6a6" providerId="AD" clId="Web-{60634083-C8B6-08C4-D9DC-855F9D1E8858}" dt="2022-07-12T15:29:43.923" v="78" actId="14100"/>
          <ac:picMkLst>
            <pc:docMk/>
            <pc:sldMk cId="1968659463" sldId="2134805209"/>
            <ac:picMk id="2" creationId="{2BFE8D18-A7BD-6788-7FD5-BF5E726BCE8D}"/>
          </ac:picMkLst>
        </pc:picChg>
      </pc:sldChg>
      <pc:sldChg chg="addSp modSp ord">
        <pc:chgData name="Pierre, Kelley" userId="S::kelley.pierre@accenture.com::75eb27c0-8a09-47b9-b68e-9e48882da6a6" providerId="AD" clId="Web-{60634083-C8B6-08C4-D9DC-855F9D1E8858}" dt="2022-07-12T16:01:22.310" v="92"/>
        <pc:sldMkLst>
          <pc:docMk/>
          <pc:sldMk cId="581199878" sldId="2134805210"/>
        </pc:sldMkLst>
        <pc:graphicFrameChg chg="modGraphic">
          <ac:chgData name="Pierre, Kelley" userId="S::kelley.pierre@accenture.com::75eb27c0-8a09-47b9-b68e-9e48882da6a6" providerId="AD" clId="Web-{60634083-C8B6-08C4-D9DC-855F9D1E8858}" dt="2022-07-12T15:15:33.522" v="15"/>
          <ac:graphicFrameMkLst>
            <pc:docMk/>
            <pc:sldMk cId="581199878" sldId="2134805210"/>
            <ac:graphicFrameMk id="8" creationId="{A0E88ACC-7BE3-F8F6-3762-ACF434134537}"/>
          </ac:graphicFrameMkLst>
        </pc:graphicFrameChg>
        <pc:picChg chg="add mod">
          <ac:chgData name="Pierre, Kelley" userId="S::kelley.pierre@accenture.com::75eb27c0-8a09-47b9-b68e-9e48882da6a6" providerId="AD" clId="Web-{60634083-C8B6-08C4-D9DC-855F9D1E8858}" dt="2022-07-12T15:18:18.902" v="19" actId="14100"/>
          <ac:picMkLst>
            <pc:docMk/>
            <pc:sldMk cId="581199878" sldId="2134805210"/>
            <ac:picMk id="2" creationId="{E38E0230-B6DC-5833-D2D1-7FCB0FC8398D}"/>
          </ac:picMkLst>
        </pc:picChg>
      </pc:sldChg>
      <pc:sldChg chg="addSp modSp mod ord modShow">
        <pc:chgData name="Pierre, Kelley" userId="S::kelley.pierre@accenture.com::75eb27c0-8a09-47b9-b68e-9e48882da6a6" providerId="AD" clId="Web-{60634083-C8B6-08C4-D9DC-855F9D1E8858}" dt="2022-07-12T19:03:36.913" v="268"/>
        <pc:sldMkLst>
          <pc:docMk/>
          <pc:sldMk cId="2892209149" sldId="2134805214"/>
        </pc:sldMkLst>
        <pc:spChg chg="mod">
          <ac:chgData name="Pierre, Kelley" userId="S::kelley.pierre@accenture.com::75eb27c0-8a09-47b9-b68e-9e48882da6a6" providerId="AD" clId="Web-{60634083-C8B6-08C4-D9DC-855F9D1E8858}" dt="2022-07-12T15:38:07.203" v="83" actId="20577"/>
          <ac:spMkLst>
            <pc:docMk/>
            <pc:sldMk cId="2892209149" sldId="2134805214"/>
            <ac:spMk id="9" creationId="{43AB19C9-D5C3-4F76-978A-A55F70609C4A}"/>
          </ac:spMkLst>
        </pc:spChg>
        <pc:graphicFrameChg chg="mod modGraphic">
          <ac:chgData name="Pierre, Kelley" userId="S::kelley.pierre@accenture.com::75eb27c0-8a09-47b9-b68e-9e48882da6a6" providerId="AD" clId="Web-{60634083-C8B6-08C4-D9DC-855F9D1E8858}" dt="2022-07-12T19:03:36.913" v="268"/>
          <ac:graphicFrameMkLst>
            <pc:docMk/>
            <pc:sldMk cId="2892209149" sldId="2134805214"/>
            <ac:graphicFrameMk id="8" creationId="{A0E88ACC-7BE3-F8F6-3762-ACF434134537}"/>
          </ac:graphicFrameMkLst>
        </pc:graphicFrameChg>
        <pc:picChg chg="add mod">
          <ac:chgData name="Pierre, Kelley" userId="S::kelley.pierre@accenture.com::75eb27c0-8a09-47b9-b68e-9e48882da6a6" providerId="AD" clId="Web-{60634083-C8B6-08C4-D9DC-855F9D1E8858}" dt="2022-07-12T15:38:27.876" v="88" actId="14100"/>
          <ac:picMkLst>
            <pc:docMk/>
            <pc:sldMk cId="2892209149" sldId="2134805214"/>
            <ac:picMk id="2" creationId="{8293D778-33C3-A7D9-133F-F6D378F53A09}"/>
          </ac:picMkLst>
        </pc:picChg>
      </pc:sldChg>
      <pc:sldChg chg="addSp delSp modSp add ord replId">
        <pc:chgData name="Pierre, Kelley" userId="S::kelley.pierre@accenture.com::75eb27c0-8a09-47b9-b68e-9e48882da6a6" providerId="AD" clId="Web-{60634083-C8B6-08C4-D9DC-855F9D1E8858}" dt="2022-07-12T16:01:22.310" v="91"/>
        <pc:sldMkLst>
          <pc:docMk/>
          <pc:sldMk cId="4099426190" sldId="2134805215"/>
        </pc:sldMkLst>
        <pc:spChg chg="mod">
          <ac:chgData name="Pierre, Kelley" userId="S::kelley.pierre@accenture.com::75eb27c0-8a09-47b9-b68e-9e48882da6a6" providerId="AD" clId="Web-{60634083-C8B6-08C4-D9DC-855F9D1E8858}" dt="2022-07-12T15:21:28.564" v="32" actId="20577"/>
          <ac:spMkLst>
            <pc:docMk/>
            <pc:sldMk cId="4099426190" sldId="2134805215"/>
            <ac:spMk id="9" creationId="{43AB19C9-D5C3-4F76-978A-A55F70609C4A}"/>
          </ac:spMkLst>
        </pc:spChg>
        <pc:graphicFrameChg chg="mod modGraphic">
          <ac:chgData name="Pierre, Kelley" userId="S::kelley.pierre@accenture.com::75eb27c0-8a09-47b9-b68e-9e48882da6a6" providerId="AD" clId="Web-{60634083-C8B6-08C4-D9DC-855F9D1E8858}" dt="2022-07-12T15:22:09.112" v="68"/>
          <ac:graphicFrameMkLst>
            <pc:docMk/>
            <pc:sldMk cId="4099426190" sldId="2134805215"/>
            <ac:graphicFrameMk id="8" creationId="{A0E88ACC-7BE3-F8F6-3762-ACF434134537}"/>
          </ac:graphicFrameMkLst>
        </pc:graphicFrameChg>
        <pc:picChg chg="del">
          <ac:chgData name="Pierre, Kelley" userId="S::kelley.pierre@accenture.com::75eb27c0-8a09-47b9-b68e-9e48882da6a6" providerId="AD" clId="Web-{60634083-C8B6-08C4-D9DC-855F9D1E8858}" dt="2022-07-12T15:23:18.833" v="69"/>
          <ac:picMkLst>
            <pc:docMk/>
            <pc:sldMk cId="4099426190" sldId="2134805215"/>
            <ac:picMk id="2" creationId="{5CCFE3BE-2D8F-6B33-00FE-E1DB3205C9E3}"/>
          </ac:picMkLst>
        </pc:picChg>
        <pc:picChg chg="add mod">
          <ac:chgData name="Pierre, Kelley" userId="S::kelley.pierre@accenture.com::75eb27c0-8a09-47b9-b68e-9e48882da6a6" providerId="AD" clId="Web-{60634083-C8B6-08C4-D9DC-855F9D1E8858}" dt="2022-07-12T15:24:48.524" v="74" actId="14100"/>
          <ac:picMkLst>
            <pc:docMk/>
            <pc:sldMk cId="4099426190" sldId="2134805215"/>
            <ac:picMk id="4" creationId="{891C1545-E8F0-5226-485D-7D1081C2633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EBC60-9D2B-48E4-9707-90A5C51280D9}" type="datetimeFigureOut">
              <a:rPr lang="en-US" smtClean="0"/>
              <a:t>9/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D74E63-5A9D-41E3-A8F8-2301577CBC29}" type="slidenum">
              <a:rPr lang="en-US" smtClean="0"/>
              <a:t>‹#›</a:t>
            </a:fld>
            <a:endParaRPr lang="en-US"/>
          </a:p>
        </p:txBody>
      </p:sp>
    </p:spTree>
    <p:extLst>
      <p:ext uri="{BB962C8B-B14F-4D97-AF65-F5344CB8AC3E}">
        <p14:creationId xmlns:p14="http://schemas.microsoft.com/office/powerpoint/2010/main" val="19450282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3396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6226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9427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8241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7676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5078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336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9773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5425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638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C264B1-F5F7-4BA5-92C0-B796D9674B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567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647C-6736-4CFE-9FBB-04FC3C0A435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B34968E-576A-48F7-88F3-144A854BF6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7A7CCA-9CD7-49F1-9F58-CCF88151F01E}"/>
              </a:ext>
            </a:extLst>
          </p:cNvPr>
          <p:cNvSpPr>
            <a:spLocks noGrp="1"/>
          </p:cNvSpPr>
          <p:nvPr>
            <p:ph type="dt" sz="half" idx="10"/>
          </p:nvPr>
        </p:nvSpPr>
        <p:spPr/>
        <p:txBody>
          <a:bodyPr/>
          <a:lstStyle/>
          <a:p>
            <a:fld id="{3892E3E8-3971-4E8F-9F12-6362083A6EF3}" type="datetime1">
              <a:rPr lang="en-US" smtClean="0"/>
              <a:t>9/2/2022</a:t>
            </a:fld>
            <a:endParaRPr lang="en-US"/>
          </a:p>
        </p:txBody>
      </p:sp>
      <p:sp>
        <p:nvSpPr>
          <p:cNvPr id="5" name="Footer Placeholder 4">
            <a:extLst>
              <a:ext uri="{FF2B5EF4-FFF2-40B4-BE49-F238E27FC236}">
                <a16:creationId xmlns:a16="http://schemas.microsoft.com/office/drawing/2014/main" id="{1E164AE1-5E03-42B9-8AA7-B0BDC43FCD64}"/>
              </a:ext>
            </a:extLst>
          </p:cNvPr>
          <p:cNvSpPr>
            <a:spLocks noGrp="1"/>
          </p:cNvSpPr>
          <p:nvPr>
            <p:ph type="ftr" sz="quarter" idx="11"/>
          </p:nvPr>
        </p:nvSpPr>
        <p:spPr/>
        <p:txBody>
          <a:bodyPr/>
          <a:lstStyle/>
          <a:p>
            <a:r>
              <a:rPr lang="en-US"/>
              <a:t>CONTRACTS GLOSSARY </a:t>
            </a:r>
          </a:p>
        </p:txBody>
      </p:sp>
      <p:sp>
        <p:nvSpPr>
          <p:cNvPr id="6" name="Slide Number Placeholder 5">
            <a:extLst>
              <a:ext uri="{FF2B5EF4-FFF2-40B4-BE49-F238E27FC236}">
                <a16:creationId xmlns:a16="http://schemas.microsoft.com/office/drawing/2014/main" id="{F4CFA6FE-2050-49D9-9388-69F42D18070C}"/>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2705286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F7855-C71D-4582-AA6C-FED3821E273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63242AF-FAC9-40B1-8495-6B3764679B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88AAB4-84C9-45FD-95D1-C05A75852F04}"/>
              </a:ext>
            </a:extLst>
          </p:cNvPr>
          <p:cNvSpPr>
            <a:spLocks noGrp="1"/>
          </p:cNvSpPr>
          <p:nvPr>
            <p:ph type="dt" sz="half" idx="10"/>
          </p:nvPr>
        </p:nvSpPr>
        <p:spPr/>
        <p:txBody>
          <a:bodyPr/>
          <a:lstStyle/>
          <a:p>
            <a:fld id="{F4648373-EEAD-4A73-91E9-7C886B70B00B}" type="datetime1">
              <a:rPr lang="en-US" smtClean="0"/>
              <a:t>9/2/2022</a:t>
            </a:fld>
            <a:endParaRPr lang="en-US"/>
          </a:p>
        </p:txBody>
      </p:sp>
      <p:sp>
        <p:nvSpPr>
          <p:cNvPr id="5" name="Footer Placeholder 4">
            <a:extLst>
              <a:ext uri="{FF2B5EF4-FFF2-40B4-BE49-F238E27FC236}">
                <a16:creationId xmlns:a16="http://schemas.microsoft.com/office/drawing/2014/main" id="{B4F80497-D48B-46C7-A51D-88D89A421D59}"/>
              </a:ext>
            </a:extLst>
          </p:cNvPr>
          <p:cNvSpPr>
            <a:spLocks noGrp="1"/>
          </p:cNvSpPr>
          <p:nvPr>
            <p:ph type="ftr" sz="quarter" idx="11"/>
          </p:nvPr>
        </p:nvSpPr>
        <p:spPr/>
        <p:txBody>
          <a:bodyPr/>
          <a:lstStyle/>
          <a:p>
            <a:r>
              <a:rPr lang="en-US"/>
              <a:t>CONTRACTS GLOSSARY </a:t>
            </a:r>
          </a:p>
        </p:txBody>
      </p:sp>
      <p:sp>
        <p:nvSpPr>
          <p:cNvPr id="6" name="Slide Number Placeholder 5">
            <a:extLst>
              <a:ext uri="{FF2B5EF4-FFF2-40B4-BE49-F238E27FC236}">
                <a16:creationId xmlns:a16="http://schemas.microsoft.com/office/drawing/2014/main" id="{3A85A14C-5B0B-44AA-8C50-7BEF43261C32}"/>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1235933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9A8991-ABB9-423A-8D11-239DBB8EED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C48D7E4-B67A-4B7B-8C10-42FDB9EE3B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CAA771-27DE-4C9C-83E3-D95E22DF8FFE}"/>
              </a:ext>
            </a:extLst>
          </p:cNvPr>
          <p:cNvSpPr>
            <a:spLocks noGrp="1"/>
          </p:cNvSpPr>
          <p:nvPr>
            <p:ph type="dt" sz="half" idx="10"/>
          </p:nvPr>
        </p:nvSpPr>
        <p:spPr/>
        <p:txBody>
          <a:bodyPr/>
          <a:lstStyle/>
          <a:p>
            <a:fld id="{1EC67B0E-9D7A-4A34-813E-92FFEC0AAB2C}" type="datetime1">
              <a:rPr lang="en-US" smtClean="0"/>
              <a:t>9/2/2022</a:t>
            </a:fld>
            <a:endParaRPr lang="en-US"/>
          </a:p>
        </p:txBody>
      </p:sp>
      <p:sp>
        <p:nvSpPr>
          <p:cNvPr id="5" name="Footer Placeholder 4">
            <a:extLst>
              <a:ext uri="{FF2B5EF4-FFF2-40B4-BE49-F238E27FC236}">
                <a16:creationId xmlns:a16="http://schemas.microsoft.com/office/drawing/2014/main" id="{A22223D1-EA94-4C36-87BC-C5237AF8AE7D}"/>
              </a:ext>
            </a:extLst>
          </p:cNvPr>
          <p:cNvSpPr>
            <a:spLocks noGrp="1"/>
          </p:cNvSpPr>
          <p:nvPr>
            <p:ph type="ftr" sz="quarter" idx="11"/>
          </p:nvPr>
        </p:nvSpPr>
        <p:spPr/>
        <p:txBody>
          <a:bodyPr/>
          <a:lstStyle/>
          <a:p>
            <a:r>
              <a:rPr lang="en-US"/>
              <a:t>CONTRACTS GLOSSARY </a:t>
            </a:r>
          </a:p>
        </p:txBody>
      </p:sp>
      <p:sp>
        <p:nvSpPr>
          <p:cNvPr id="6" name="Slide Number Placeholder 5">
            <a:extLst>
              <a:ext uri="{FF2B5EF4-FFF2-40B4-BE49-F238E27FC236}">
                <a16:creationId xmlns:a16="http://schemas.microsoft.com/office/drawing/2014/main" id="{F625EA5F-EAA1-433B-8D19-DF19F4F36EC1}"/>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8610357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 Light Gray">
    <p:bg>
      <p:bgPr>
        <a:solidFill>
          <a:srgbClr val="EEE7E7"/>
        </a:solidFill>
        <a:effectLst/>
      </p:bgPr>
    </p:bg>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a:t>Division/Therapeutic Area [Edit he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a:t>[Month 00, 0000]</a:t>
            </a:r>
          </a:p>
        </p:txBody>
      </p:sp>
      <p:sp>
        <p:nvSpPr>
          <p:cNvPr id="6" name="Text Placeholder 4">
            <a:extLst>
              <a:ext uri="{FF2B5EF4-FFF2-40B4-BE49-F238E27FC236}">
                <a16:creationId xmlns:a16="http://schemas.microsoft.com/office/drawing/2014/main" id="{F1E892DE-B840-A64B-91A1-1B18F6037C3F}"/>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a:t>[Presenter Name]</a:t>
            </a:r>
            <a:br>
              <a:rPr lang="en-US"/>
            </a:br>
            <a:r>
              <a:rPr lang="en-US"/>
              <a:t>[Title]</a:t>
            </a:r>
          </a:p>
        </p:txBody>
      </p:sp>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8" name="Disclaimer">
            <a:extLst>
              <a:ext uri="{FF2B5EF4-FFF2-40B4-BE49-F238E27FC236}">
                <a16:creationId xmlns:a16="http://schemas.microsoft.com/office/drawing/2014/main" id="{F95EDC5C-ABEE-824D-9A00-482457322324}"/>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marL="0" indent="0" algn="r">
              <a:lnSpc>
                <a:spcPct val="100000"/>
              </a:lnSpc>
              <a:spcBef>
                <a:spcPts val="0"/>
              </a:spcBef>
              <a:buSzPct val="100000"/>
              <a:buFontTx/>
              <a:buNone/>
            </a:pPr>
            <a:r>
              <a:rPr lang="en-US" sz="800" b="0"/>
              <a:t>Highly Confidential</a:t>
            </a:r>
          </a:p>
        </p:txBody>
      </p:sp>
    </p:spTree>
    <p:extLst>
      <p:ext uri="{BB962C8B-B14F-4D97-AF65-F5344CB8AC3E}">
        <p14:creationId xmlns:p14="http://schemas.microsoft.com/office/powerpoint/2010/main" val="3054453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a:t>Division/Therapeutic Area [Edit he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a:t>[Month 00, 0000]</a:t>
            </a:r>
          </a:p>
        </p:txBody>
      </p:sp>
      <p:sp>
        <p:nvSpPr>
          <p:cNvPr id="5" name="Text Placeholder 4">
            <a:extLst>
              <a:ext uri="{FF2B5EF4-FFF2-40B4-BE49-F238E27FC236}">
                <a16:creationId xmlns:a16="http://schemas.microsoft.com/office/drawing/2014/main" id="{C7CE39BE-06F7-7349-BF12-45D065ED872B}"/>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a:t>[Presenter Name]</a:t>
            </a:r>
            <a:br>
              <a:rPr lang="en-US"/>
            </a:br>
            <a:r>
              <a:rPr lang="en-US"/>
              <a:t>[Title]</a:t>
            </a:r>
          </a:p>
        </p:txBody>
      </p:sp>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10" name="Disclaimer">
            <a:extLst>
              <a:ext uri="{FF2B5EF4-FFF2-40B4-BE49-F238E27FC236}">
                <a16:creationId xmlns:a16="http://schemas.microsoft.com/office/drawing/2014/main" id="{0411BC70-4820-DF40-90C3-6ACD451ADD60}"/>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marL="0" indent="0" algn="r">
              <a:lnSpc>
                <a:spcPct val="100000"/>
              </a:lnSpc>
              <a:spcBef>
                <a:spcPts val="0"/>
              </a:spcBef>
              <a:buSzPct val="100000"/>
              <a:buFontTx/>
              <a:buNone/>
            </a:pPr>
            <a:r>
              <a:rPr lang="en-US" sz="800" b="0"/>
              <a:t>Highly Confidential</a:t>
            </a:r>
          </a:p>
        </p:txBody>
      </p:sp>
    </p:spTree>
    <p:extLst>
      <p:ext uri="{BB962C8B-B14F-4D97-AF65-F5344CB8AC3E}">
        <p14:creationId xmlns:p14="http://schemas.microsoft.com/office/powerpoint/2010/main" val="692063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Gray">
    <p:bg>
      <p:bgPr>
        <a:solidFill>
          <a:srgbClr val="EEE7E7"/>
        </a:solidFill>
        <a:effectLst/>
      </p:bgPr>
    </p:bg>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a:t>SS&amp;P</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a:t>[Month 00, 0000]</a:t>
            </a:r>
          </a:p>
        </p:txBody>
      </p:sp>
      <p:sp>
        <p:nvSpPr>
          <p:cNvPr id="6" name="Text Placeholder 4">
            <a:extLst>
              <a:ext uri="{FF2B5EF4-FFF2-40B4-BE49-F238E27FC236}">
                <a16:creationId xmlns:a16="http://schemas.microsoft.com/office/drawing/2014/main" id="{F1E892DE-B840-A64B-91A1-1B18F6037C3F}"/>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a:t>[Presenter Name]</a:t>
            </a:r>
            <a:br>
              <a:rPr lang="en-US"/>
            </a:br>
            <a:r>
              <a:rPr lang="en-US"/>
              <a:t>[Title]</a:t>
            </a:r>
          </a:p>
        </p:txBody>
      </p:sp>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8" name="Disclaimer">
            <a:extLst>
              <a:ext uri="{FF2B5EF4-FFF2-40B4-BE49-F238E27FC236}">
                <a16:creationId xmlns:a16="http://schemas.microsoft.com/office/drawing/2014/main" id="{F95EDC5C-ABEE-824D-9A00-482457322324}"/>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marL="0" indent="0" algn="r">
              <a:lnSpc>
                <a:spcPct val="100000"/>
              </a:lnSpc>
              <a:spcBef>
                <a:spcPts val="0"/>
              </a:spcBef>
              <a:buSzPct val="100000"/>
              <a:buFontTx/>
              <a:buNone/>
            </a:pPr>
            <a:r>
              <a:rPr lang="en-US" sz="800" b="0"/>
              <a:t>Highly Confidential</a:t>
            </a:r>
          </a:p>
        </p:txBody>
      </p:sp>
    </p:spTree>
    <p:extLst>
      <p:ext uri="{BB962C8B-B14F-4D97-AF65-F5344CB8AC3E}">
        <p14:creationId xmlns:p14="http://schemas.microsoft.com/office/powerpoint/2010/main" val="203290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p:txBody>
          <a:bodyPr rIns="0" numCol="2" spcCol="301752"/>
          <a:lstStyle>
            <a:lvl1pPr marL="411480" indent="-411480">
              <a:buFont typeface="+mj-lt"/>
              <a:buAutoNum type="arabicPeriod"/>
              <a:tabLst/>
              <a:defRPr/>
            </a:lvl1pPr>
            <a:lvl2pPr marL="640080" indent="-228600">
              <a:tabLst/>
              <a:defRPr/>
            </a:lvl2pPr>
            <a:lvl3pPr marL="868680" indent="-228600">
              <a:tabLst/>
              <a:defRPr/>
            </a:lvl3pPr>
            <a:lvl4pPr marL="1097280" indent="-228600">
              <a:tabLst/>
              <a:defRPr/>
            </a:lvl4pPr>
            <a:lvl5pPr marL="1325880" indent="-228600">
              <a:tabLst/>
              <a:defRPr/>
            </a:lvl5pPr>
            <a:lvl6pPr marL="1554480" indent="-228600">
              <a:tabLst/>
              <a:defRPr/>
            </a:lvl6pPr>
            <a:lvl7pPr marL="1783080" indent="-228600">
              <a:tabLst/>
              <a:defRPr/>
            </a:lvl7pPr>
            <a:lvl8pPr marL="2011680" indent="-228600">
              <a:tabLst/>
              <a:defRPr/>
            </a:lvl8pPr>
            <a:lvl9pPr marL="2240280" indent="-228600">
              <a:tabLst/>
              <a:defRPr/>
            </a:lvl9pPr>
          </a:lstStyle>
          <a:p>
            <a:pPr lvl="0"/>
            <a:r>
              <a:rPr lang="en-US"/>
              <a:t>[Agenda item]</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88104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8567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92547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ACCA8-567A-47CC-B37E-3198CCDEAD7C}"/>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36240EC-7F0D-4AAA-900E-E9589D48AA77}"/>
              </a:ext>
            </a:extLst>
          </p:cNvPr>
          <p:cNvSpPr>
            <a:spLocks noGrp="1"/>
          </p:cNvSpPr>
          <p:nvPr>
            <p:ph type="sldNum" sz="quarter" idx="10"/>
          </p:nvPr>
        </p:nvSpPr>
        <p:spPr/>
        <p:txBody>
          <a:bodyPr/>
          <a:lstStyle/>
          <a:p>
            <a:fld id="{B58DE5F1-E0F9-4CCA-92B7-7A6FC4DFEE14}" type="slidenum">
              <a:rPr lang="en-US" smtClean="0"/>
              <a:pPr/>
              <a:t>‹#›</a:t>
            </a:fld>
            <a:endParaRPr lang="en-US"/>
          </a:p>
        </p:txBody>
      </p:sp>
    </p:spTree>
    <p:extLst>
      <p:ext uri="{BB962C8B-B14F-4D97-AF65-F5344CB8AC3E}">
        <p14:creationId xmlns:p14="http://schemas.microsoft.com/office/powerpoint/2010/main" val="19958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0A65C3A-C556-7B4E-9098-E1FD19D432C7}"/>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3621024"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285488" y="1554480"/>
            <a:ext cx="3621024"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8205216" y="1554480"/>
            <a:ext cx="3621024" cy="457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62767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98">
          <p15:clr>
            <a:srgbClr val="FBAE40"/>
          </p15:clr>
        </p15:guide>
        <p15:guide id="2" pos="2512">
          <p15:clr>
            <a:srgbClr val="FBAE40"/>
          </p15:clr>
        </p15:guide>
        <p15:guide id="3" pos="4982">
          <p15:clr>
            <a:srgbClr val="FBAE40"/>
          </p15:clr>
        </p15:guide>
        <p15:guide id="4" pos="51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84606BD2-3FCB-4C97-878B-890334948CAF}"/>
              </a:ext>
            </a:extLst>
          </p:cNvPr>
          <p:cNvCxnSpPr/>
          <p:nvPr userDrawn="1"/>
        </p:nvCxnSpPr>
        <p:spPr>
          <a:xfrm>
            <a:off x="598714" y="6215743"/>
            <a:ext cx="11016343" cy="0"/>
          </a:xfrm>
          <a:prstGeom prst="line">
            <a:avLst/>
          </a:prstGeom>
          <a:ln>
            <a:solidFill>
              <a:srgbClr val="595454"/>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FD818340-34A4-4B74-9860-E81503756B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29158" y="6395357"/>
            <a:ext cx="1442358" cy="196685"/>
          </a:xfrm>
          <a:prstGeom prst="rect">
            <a:avLst/>
          </a:prstGeom>
        </p:spPr>
      </p:pic>
      <p:sp>
        <p:nvSpPr>
          <p:cNvPr id="11" name="TextBox 10">
            <a:extLst>
              <a:ext uri="{FF2B5EF4-FFF2-40B4-BE49-F238E27FC236}">
                <a16:creationId xmlns:a16="http://schemas.microsoft.com/office/drawing/2014/main" id="{C3BC77BF-00B9-4536-889A-A2DBE104F444}"/>
              </a:ext>
            </a:extLst>
          </p:cNvPr>
          <p:cNvSpPr txBox="1"/>
          <p:nvPr userDrawn="1"/>
        </p:nvSpPr>
        <p:spPr>
          <a:xfrm>
            <a:off x="489857" y="6388390"/>
            <a:ext cx="2715985" cy="261610"/>
          </a:xfrm>
          <a:prstGeom prst="rect">
            <a:avLst/>
          </a:prstGeom>
          <a:noFill/>
        </p:spPr>
        <p:txBody>
          <a:bodyPr wrap="square" rtlCol="0">
            <a:spAutoFit/>
          </a:bodyPr>
          <a:lstStyle/>
          <a:p>
            <a:r>
              <a:rPr lang="en-US" sz="1100" noProof="0">
                <a:solidFill>
                  <a:srgbClr val="595454"/>
                </a:solidFill>
                <a:latin typeface="BMS Humanity Thin" panose="02000506030000020004" pitchFamily="50" charset="0"/>
              </a:rPr>
              <a:t>Cheat Sheet</a:t>
            </a:r>
          </a:p>
        </p:txBody>
      </p:sp>
    </p:spTree>
    <p:extLst>
      <p:ext uri="{BB962C8B-B14F-4D97-AF65-F5344CB8AC3E}">
        <p14:creationId xmlns:p14="http://schemas.microsoft.com/office/powerpoint/2010/main" val="37227906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2861D7D-0CE3-D447-AB46-E7F0601A9C1D}"/>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3302001" y="1554480"/>
            <a:ext cx="2641598"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6248400" y="1554480"/>
            <a:ext cx="2641600"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a:extLst>
              <a:ext uri="{FF2B5EF4-FFF2-40B4-BE49-F238E27FC236}">
                <a16:creationId xmlns:a16="http://schemas.microsoft.com/office/drawing/2014/main" id="{04198CF4-E51B-2147-88D7-1228A1479BFA}"/>
              </a:ext>
            </a:extLst>
          </p:cNvPr>
          <p:cNvSpPr>
            <a:spLocks noGrp="1"/>
          </p:cNvSpPr>
          <p:nvPr>
            <p:ph sz="quarter" idx="14"/>
          </p:nvPr>
        </p:nvSpPr>
        <p:spPr>
          <a:xfrm>
            <a:off x="9183624"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38726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D903699-153C-AD47-95F6-16E2B30162AA}"/>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3618992"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286504" y="1554480"/>
            <a:ext cx="7539736"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22029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0">
          <p15:clr>
            <a:srgbClr val="FBAE40"/>
          </p15:clr>
        </p15:guide>
        <p15:guide id="2" pos="251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EF123-E2C1-8448-BA4B-9ECBEA28E81D}"/>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7539736"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207248" y="1554480"/>
            <a:ext cx="3618992"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4">
            <a:extLst>
              <a:ext uri="{FF2B5EF4-FFF2-40B4-BE49-F238E27FC236}">
                <a16:creationId xmlns:a16="http://schemas.microsoft.com/office/drawing/2014/main" id="{67FB1D32-3E1C-554A-A887-047CEBF6A063}"/>
              </a:ext>
            </a:extLst>
          </p:cNvPr>
          <p:cNvSpPr>
            <a:spLocks noGrp="1"/>
          </p:cNvSpPr>
          <p:nvPr>
            <p:ph type="sldNum" sz="quarter" idx="12"/>
          </p:nvPr>
        </p:nvSpPr>
        <p:spPr/>
        <p:txBody>
          <a:bodyPr/>
          <a:lstStyle/>
          <a:p>
            <a:fld id="{B58DE5F1-E0F9-4CCA-92B7-7A6FC4DFEE14}" type="slidenum">
              <a:rPr lang="en-US" smtClean="0"/>
              <a:pPr/>
              <a:t>‹#›</a:t>
            </a:fld>
            <a:endParaRPr lang="en-US"/>
          </a:p>
        </p:txBody>
      </p:sp>
    </p:spTree>
    <p:extLst>
      <p:ext uri="{BB962C8B-B14F-4D97-AF65-F5344CB8AC3E}">
        <p14:creationId xmlns:p14="http://schemas.microsoft.com/office/powerpoint/2010/main" val="428222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980">
          <p15:clr>
            <a:srgbClr val="FBAE40"/>
          </p15:clr>
        </p15:guide>
        <p15:guide id="4" pos="516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Statem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99463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Statement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956341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269040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Statement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459701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Statement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861923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Statement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115121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Statement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8974425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3555D-4C12-40C2-9DB9-6A78E7EE58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E002AA-44BD-4A63-9B39-5C2410E829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82DDBDE-D256-4163-8681-5F92D6896BB2}"/>
              </a:ext>
            </a:extLst>
          </p:cNvPr>
          <p:cNvSpPr>
            <a:spLocks noGrp="1"/>
          </p:cNvSpPr>
          <p:nvPr>
            <p:ph type="dt" sz="half" idx="10"/>
          </p:nvPr>
        </p:nvSpPr>
        <p:spPr/>
        <p:txBody>
          <a:bodyPr/>
          <a:lstStyle/>
          <a:p>
            <a:fld id="{DD842DDB-D7B3-40FA-80A4-1B71DF518F03}" type="datetime1">
              <a:rPr lang="en-US" smtClean="0"/>
              <a:t>9/2/2022</a:t>
            </a:fld>
            <a:endParaRPr lang="en-US"/>
          </a:p>
        </p:txBody>
      </p:sp>
      <p:sp>
        <p:nvSpPr>
          <p:cNvPr id="5" name="Footer Placeholder 4">
            <a:extLst>
              <a:ext uri="{FF2B5EF4-FFF2-40B4-BE49-F238E27FC236}">
                <a16:creationId xmlns:a16="http://schemas.microsoft.com/office/drawing/2014/main" id="{65C98C44-9B56-4FB4-A6B5-8D7077FFF891}"/>
              </a:ext>
            </a:extLst>
          </p:cNvPr>
          <p:cNvSpPr>
            <a:spLocks noGrp="1"/>
          </p:cNvSpPr>
          <p:nvPr>
            <p:ph type="ftr" sz="quarter" idx="11"/>
          </p:nvPr>
        </p:nvSpPr>
        <p:spPr/>
        <p:txBody>
          <a:bodyPr/>
          <a:lstStyle/>
          <a:p>
            <a:r>
              <a:rPr lang="en-US"/>
              <a:t>CONTRACTS GLOSSARY </a:t>
            </a:r>
          </a:p>
        </p:txBody>
      </p:sp>
      <p:sp>
        <p:nvSpPr>
          <p:cNvPr id="6" name="Slide Number Placeholder 5">
            <a:extLst>
              <a:ext uri="{FF2B5EF4-FFF2-40B4-BE49-F238E27FC236}">
                <a16:creationId xmlns:a16="http://schemas.microsoft.com/office/drawing/2014/main" id="{62079B7F-6D31-4CEF-A9C0-FBC7AC19ADD4}"/>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17282953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g Statement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979374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Statement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860956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emnent - Light Gray">
    <p:bg>
      <p:bgPr>
        <a:solidFill>
          <a:srgbClr val="EEE7E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244BE-F5F5-DB40-B805-09B59F695DCE}"/>
              </a:ext>
            </a:extLst>
          </p:cNvPr>
          <p:cNvSpPr>
            <a:spLocks noGrp="1"/>
          </p:cNvSpPr>
          <p:nvPr>
            <p:ph type="title" hasCustomPrompt="1"/>
          </p:nvPr>
        </p:nvSpPr>
        <p:spPr>
          <a:xfrm>
            <a:off x="365760" y="365760"/>
            <a:ext cx="11460480" cy="914400"/>
          </a:xfrm>
        </p:spPr>
        <p:txBody>
          <a:bodyPr/>
          <a:lstStyle/>
          <a:p>
            <a:r>
              <a:rPr lang="en-US"/>
              <a:t>[Optional 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a:t>[Big statement]</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381465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One Pictu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6858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4">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5881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Two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id="{A613A27A-887F-7D4B-BD42-C5EF05F12448}"/>
              </a:ext>
            </a:extLst>
          </p:cNvPr>
          <p:cNvSpPr>
            <a:spLocks noGrp="1"/>
          </p:cNvSpPr>
          <p:nvPr>
            <p:ph type="pic" sz="quarter" idx="14"/>
          </p:nvPr>
        </p:nvSpPr>
        <p:spPr>
          <a:xfrm>
            <a:off x="6096000" y="3429000"/>
            <a:ext cx="6096000"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5">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06092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Three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8" name="Picture Placeholder 5">
            <a:extLst>
              <a:ext uri="{FF2B5EF4-FFF2-40B4-BE49-F238E27FC236}">
                <a16:creationId xmlns:a16="http://schemas.microsoft.com/office/drawing/2014/main" id="{C2AB3B13-24B5-EA40-92B2-665869E4657A}"/>
              </a:ext>
            </a:extLst>
          </p:cNvPr>
          <p:cNvSpPr>
            <a:spLocks noGrp="1"/>
          </p:cNvSpPr>
          <p:nvPr>
            <p:ph type="pic" sz="quarter" idx="15"/>
          </p:nvPr>
        </p:nvSpPr>
        <p:spPr>
          <a:xfrm>
            <a:off x="9140952" y="3429000"/>
            <a:ext cx="3051048" cy="3429000"/>
          </a:xfrm>
          <a:solidFill>
            <a:srgbClr val="BFBFBF"/>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6">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42440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nd Four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3">
            <a:extLst>
              <a:ext uri="{FF2B5EF4-FFF2-40B4-BE49-F238E27FC236}">
                <a16:creationId xmlns:a16="http://schemas.microsoft.com/office/drawing/2014/main"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8" name="Picture Placeholder 5">
            <a:extLst>
              <a:ext uri="{FF2B5EF4-FFF2-40B4-BE49-F238E27FC236}">
                <a16:creationId xmlns:a16="http://schemas.microsoft.com/office/drawing/2014/main" id="{C2AB3B13-24B5-EA40-92B2-665869E4657A}"/>
              </a:ext>
            </a:extLst>
          </p:cNvPr>
          <p:cNvSpPr>
            <a:spLocks noGrp="1"/>
          </p:cNvSpPr>
          <p:nvPr>
            <p:ph type="pic" sz="quarter" idx="15"/>
          </p:nvPr>
        </p:nvSpPr>
        <p:spPr>
          <a:xfrm>
            <a:off x="9140952" y="3429000"/>
            <a:ext cx="3051048" cy="1719072"/>
          </a:xfrm>
          <a:solidFill>
            <a:srgbClr val="BFBFBF"/>
          </a:solidFill>
        </p:spPr>
        <p:txBody>
          <a:bodyPr anchor="ctr" anchorCtr="0">
            <a:normAutofit/>
          </a:bodyPr>
          <a:lstStyle>
            <a:lvl1pPr marL="0" indent="0" algn="ctr">
              <a:buFontTx/>
              <a:buNone/>
              <a:defRPr sz="1200"/>
            </a:lvl1pPr>
          </a:lstStyle>
          <a:p>
            <a:r>
              <a:rPr lang="en-US"/>
              <a:t>Click icon to add picture</a:t>
            </a:r>
          </a:p>
        </p:txBody>
      </p:sp>
      <p:sp>
        <p:nvSpPr>
          <p:cNvPr id="9" name="Picture Placeholder 6">
            <a:extLst>
              <a:ext uri="{FF2B5EF4-FFF2-40B4-BE49-F238E27FC236}">
                <a16:creationId xmlns:a16="http://schemas.microsoft.com/office/drawing/2014/main" id="{A26BC3F3-33EB-F346-B70E-DE269C6819EE}"/>
              </a:ext>
            </a:extLst>
          </p:cNvPr>
          <p:cNvSpPr>
            <a:spLocks noGrp="1"/>
          </p:cNvSpPr>
          <p:nvPr>
            <p:ph type="pic" sz="quarter" idx="16"/>
          </p:nvPr>
        </p:nvSpPr>
        <p:spPr>
          <a:xfrm>
            <a:off x="9140952" y="5148072"/>
            <a:ext cx="3051048" cy="1709928"/>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7">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5749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Pictures an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2861D7D-0CE3-D447-AB46-E7F0601A9C1D}"/>
              </a:ext>
            </a:extLst>
          </p:cNvPr>
          <p:cNvSpPr>
            <a:spLocks noGrp="1"/>
          </p:cNvSpPr>
          <p:nvPr>
            <p:ph type="title" hasCustomPrompt="1"/>
          </p:nvPr>
        </p:nvSpPr>
        <p:spPr>
          <a:xfrm>
            <a:off x="365760" y="365760"/>
            <a:ext cx="11460480" cy="914400"/>
          </a:xfrm>
        </p:spPr>
        <p:txBody>
          <a:bodyPr/>
          <a:lstStyle/>
          <a:p>
            <a:r>
              <a:rPr lang="en-US"/>
              <a:t>[Slide title]</a:t>
            </a:r>
          </a:p>
        </p:txBody>
      </p:sp>
      <p:sp>
        <p:nvSpPr>
          <p:cNvPr id="9" name="Picture Placeholder 2">
            <a:extLst>
              <a:ext uri="{FF2B5EF4-FFF2-40B4-BE49-F238E27FC236}">
                <a16:creationId xmlns:a16="http://schemas.microsoft.com/office/drawing/2014/main" id="{6B9E9C5D-8364-0D47-AF90-417652D3C169}"/>
              </a:ext>
            </a:extLst>
          </p:cNvPr>
          <p:cNvSpPr>
            <a:spLocks noGrp="1"/>
          </p:cNvSpPr>
          <p:nvPr>
            <p:ph type="pic" sz="quarter" idx="16"/>
          </p:nvPr>
        </p:nvSpPr>
        <p:spPr>
          <a:xfrm>
            <a:off x="365126"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17" name="Text Placeholder 3">
            <a:extLst>
              <a:ext uri="{FF2B5EF4-FFF2-40B4-BE49-F238E27FC236}">
                <a16:creationId xmlns:a16="http://schemas.microsoft.com/office/drawing/2014/main" id="{D8A87F8F-2D9A-B243-A5FB-6E555C2704C5}"/>
              </a:ext>
            </a:extLst>
          </p:cNvPr>
          <p:cNvSpPr>
            <a:spLocks noGrp="1"/>
          </p:cNvSpPr>
          <p:nvPr>
            <p:ph type="body" sz="quarter" idx="17"/>
          </p:nvPr>
        </p:nvSpPr>
        <p:spPr>
          <a:xfrm>
            <a:off x="36576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4">
            <a:extLst>
              <a:ext uri="{FF2B5EF4-FFF2-40B4-BE49-F238E27FC236}">
                <a16:creationId xmlns:a16="http://schemas.microsoft.com/office/drawing/2014/main" id="{5797D6E4-4FD3-FB41-AC2F-B0BC44660939}"/>
              </a:ext>
            </a:extLst>
          </p:cNvPr>
          <p:cNvSpPr>
            <a:spLocks noGrp="1"/>
          </p:cNvSpPr>
          <p:nvPr>
            <p:ph type="pic" sz="quarter" idx="18"/>
          </p:nvPr>
        </p:nvSpPr>
        <p:spPr>
          <a:xfrm>
            <a:off x="3301999"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25" name="Text Placeholder 5">
            <a:extLst>
              <a:ext uri="{FF2B5EF4-FFF2-40B4-BE49-F238E27FC236}">
                <a16:creationId xmlns:a16="http://schemas.microsoft.com/office/drawing/2014/main" id="{A8504504-7E85-584D-A20B-448D0D56BBE5}"/>
              </a:ext>
            </a:extLst>
          </p:cNvPr>
          <p:cNvSpPr>
            <a:spLocks noGrp="1"/>
          </p:cNvSpPr>
          <p:nvPr>
            <p:ph type="body" sz="quarter" idx="21"/>
          </p:nvPr>
        </p:nvSpPr>
        <p:spPr>
          <a:xfrm>
            <a:off x="33020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6">
            <a:extLst>
              <a:ext uri="{FF2B5EF4-FFF2-40B4-BE49-F238E27FC236}">
                <a16:creationId xmlns:a16="http://schemas.microsoft.com/office/drawing/2014/main" id="{8B42205D-9591-3C43-8A71-9811FC49A762}"/>
              </a:ext>
            </a:extLst>
          </p:cNvPr>
          <p:cNvSpPr>
            <a:spLocks noGrp="1"/>
          </p:cNvSpPr>
          <p:nvPr>
            <p:ph type="pic" sz="quarter" idx="19"/>
          </p:nvPr>
        </p:nvSpPr>
        <p:spPr>
          <a:xfrm>
            <a:off x="6248400"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27" name="Text Placeholder 7">
            <a:extLst>
              <a:ext uri="{FF2B5EF4-FFF2-40B4-BE49-F238E27FC236}">
                <a16:creationId xmlns:a16="http://schemas.microsoft.com/office/drawing/2014/main" id="{0BC915BB-BDF2-BD44-8C3A-2C34D2A9A632}"/>
              </a:ext>
            </a:extLst>
          </p:cNvPr>
          <p:cNvSpPr>
            <a:spLocks noGrp="1"/>
          </p:cNvSpPr>
          <p:nvPr>
            <p:ph type="body" sz="quarter" idx="22"/>
          </p:nvPr>
        </p:nvSpPr>
        <p:spPr>
          <a:xfrm>
            <a:off x="62484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Picture Placeholder 8">
            <a:extLst>
              <a:ext uri="{FF2B5EF4-FFF2-40B4-BE49-F238E27FC236}">
                <a16:creationId xmlns:a16="http://schemas.microsoft.com/office/drawing/2014/main" id="{DD93C7F7-3C80-DA48-9BC2-95DD73DF8782}"/>
              </a:ext>
            </a:extLst>
          </p:cNvPr>
          <p:cNvSpPr>
            <a:spLocks noGrp="1"/>
          </p:cNvSpPr>
          <p:nvPr>
            <p:ph type="pic" sz="quarter" idx="20"/>
          </p:nvPr>
        </p:nvSpPr>
        <p:spPr>
          <a:xfrm>
            <a:off x="9183624"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29" name="Text Placeholder 9">
            <a:extLst>
              <a:ext uri="{FF2B5EF4-FFF2-40B4-BE49-F238E27FC236}">
                <a16:creationId xmlns:a16="http://schemas.microsoft.com/office/drawing/2014/main" id="{0A585D99-3BCE-844A-8969-7E2EFD217B54}"/>
              </a:ext>
            </a:extLst>
          </p:cNvPr>
          <p:cNvSpPr>
            <a:spLocks noGrp="1"/>
          </p:cNvSpPr>
          <p:nvPr>
            <p:ph type="body" sz="quarter" idx="23"/>
          </p:nvPr>
        </p:nvSpPr>
        <p:spPr>
          <a:xfrm>
            <a:off x="91821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0">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04472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guide id="7" orient="horz" pos="2074">
          <p15:clr>
            <a:srgbClr val="FBAE40"/>
          </p15:clr>
        </p15:guide>
        <p15:guide id="8" orient="horz" pos="218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nd One Picture">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3F25E4DD-7BAF-CF43-9AF5-512CC54177DD}"/>
              </a:ext>
            </a:extLst>
          </p:cNvPr>
          <p:cNvSpPr>
            <a:spLocks noGrp="1"/>
          </p:cNvSpPr>
          <p:nvPr>
            <p:ph type="pic" sz="quarter" idx="13"/>
          </p:nvPr>
        </p:nvSpPr>
        <p:spPr>
          <a:xfrm>
            <a:off x="0" y="0"/>
            <a:ext cx="12192000" cy="6858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2" name="Title 2">
            <a:extLst>
              <a:ext uri="{FF2B5EF4-FFF2-40B4-BE49-F238E27FC236}">
                <a16:creationId xmlns:a16="http://schemas.microsoft.com/office/drawing/2014/main" id="{ADC9E62E-3AF4-C24D-8B08-8A7FCB7EDCE0}"/>
              </a:ext>
            </a:extLst>
          </p:cNvPr>
          <p:cNvSpPr>
            <a:spLocks noGrp="1"/>
          </p:cNvSpPr>
          <p:nvPr>
            <p:ph type="title" hasCustomPrompt="1"/>
          </p:nvPr>
        </p:nvSpPr>
        <p:spPr/>
        <p:txBody>
          <a:bodyPr/>
          <a:lstStyle/>
          <a:p>
            <a:r>
              <a:rPr lang="en-US"/>
              <a:t>[Slide title]</a:t>
            </a:r>
          </a:p>
        </p:txBody>
      </p:sp>
      <p:sp>
        <p:nvSpPr>
          <p:cNvPr id="3" name="Slide Number Placeholder 3">
            <a:extLst>
              <a:ext uri="{FF2B5EF4-FFF2-40B4-BE49-F238E27FC236}">
                <a16:creationId xmlns:a16="http://schemas.microsoft.com/office/drawing/2014/main" id="{EE3D7CA1-C89E-E24C-B557-52A1F9AEBF30}"/>
              </a:ext>
            </a:extLst>
          </p:cNvPr>
          <p:cNvSpPr>
            <a:spLocks noGrp="1"/>
          </p:cNvSpPr>
          <p:nvPr>
            <p:ph type="sldNum" sz="quarter" idx="10"/>
          </p:nvPr>
        </p:nvSpPr>
        <p:spPr/>
        <p:txBody>
          <a:bodyPr/>
          <a:lstStyle/>
          <a:p>
            <a:fld id="{B58DE5F1-E0F9-4CCA-92B7-7A6FC4DFEE14}" type="slidenum">
              <a:rPr lang="en-US" smtClean="0"/>
              <a:pPr/>
              <a:t>‹#›</a:t>
            </a:fld>
            <a:endParaRPr lang="en-US"/>
          </a:p>
        </p:txBody>
      </p:sp>
    </p:spTree>
    <p:extLst>
      <p:ext uri="{BB962C8B-B14F-4D97-AF65-F5344CB8AC3E}">
        <p14:creationId xmlns:p14="http://schemas.microsoft.com/office/powerpoint/2010/main" val="5637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83832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534DC-AE63-4515-A144-7185130A60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38360F-681B-44A7-8F39-BDA47027BA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1F04C3C-1C73-4C37-8C61-6EB4205F997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02D52FE-5C0F-412F-903B-1B64FC264D3F}"/>
              </a:ext>
            </a:extLst>
          </p:cNvPr>
          <p:cNvSpPr>
            <a:spLocks noGrp="1"/>
          </p:cNvSpPr>
          <p:nvPr>
            <p:ph type="dt" sz="half" idx="10"/>
          </p:nvPr>
        </p:nvSpPr>
        <p:spPr/>
        <p:txBody>
          <a:bodyPr/>
          <a:lstStyle/>
          <a:p>
            <a:fld id="{D2AA9F69-363A-4C60-B113-B62964E81002}" type="datetime1">
              <a:rPr lang="en-US" smtClean="0"/>
              <a:t>9/2/2022</a:t>
            </a:fld>
            <a:endParaRPr lang="en-US"/>
          </a:p>
        </p:txBody>
      </p:sp>
      <p:sp>
        <p:nvSpPr>
          <p:cNvPr id="6" name="Footer Placeholder 5">
            <a:extLst>
              <a:ext uri="{FF2B5EF4-FFF2-40B4-BE49-F238E27FC236}">
                <a16:creationId xmlns:a16="http://schemas.microsoft.com/office/drawing/2014/main" id="{D6A14E8B-4311-405E-B6EF-CC866423F3EF}"/>
              </a:ext>
            </a:extLst>
          </p:cNvPr>
          <p:cNvSpPr>
            <a:spLocks noGrp="1"/>
          </p:cNvSpPr>
          <p:nvPr>
            <p:ph type="ftr" sz="quarter" idx="11"/>
          </p:nvPr>
        </p:nvSpPr>
        <p:spPr/>
        <p:txBody>
          <a:bodyPr/>
          <a:lstStyle/>
          <a:p>
            <a:r>
              <a:rPr lang="en-US"/>
              <a:t>CONTRACTS GLOSSARY </a:t>
            </a:r>
          </a:p>
        </p:txBody>
      </p:sp>
      <p:sp>
        <p:nvSpPr>
          <p:cNvPr id="7" name="Slide Number Placeholder 6">
            <a:extLst>
              <a:ext uri="{FF2B5EF4-FFF2-40B4-BE49-F238E27FC236}">
                <a16:creationId xmlns:a16="http://schemas.microsoft.com/office/drawing/2014/main" id="{19F714E4-E62E-4F5F-87C1-802A187B5F86}"/>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41207681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408779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25300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92114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52891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60457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91196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416799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84621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 - Light Gray">
    <p:bg>
      <p:bgPr>
        <a:solidFill>
          <a:srgbClr val="EEE7E7"/>
        </a:soli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405575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427526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729F3-90AE-4BE3-B561-51FFA3B4C3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3DD9F6B-28E4-4DB5-8140-627D3DB07B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3189484-BE70-4C48-A691-E0CA920769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EB4D47-7B79-4BA2-95C9-B9752995E22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7F69EA-7641-44C0-9C1C-3CC767BB4B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9D2CF18-2AD3-4BFE-B4AF-3E66B4257596}"/>
              </a:ext>
            </a:extLst>
          </p:cNvPr>
          <p:cNvSpPr>
            <a:spLocks noGrp="1"/>
          </p:cNvSpPr>
          <p:nvPr>
            <p:ph type="dt" sz="half" idx="10"/>
          </p:nvPr>
        </p:nvSpPr>
        <p:spPr/>
        <p:txBody>
          <a:bodyPr/>
          <a:lstStyle/>
          <a:p>
            <a:fld id="{D77017A1-6481-45E2-84DF-565E166A7C78}" type="datetime1">
              <a:rPr lang="en-US" smtClean="0"/>
              <a:t>9/2/2022</a:t>
            </a:fld>
            <a:endParaRPr lang="en-US"/>
          </a:p>
        </p:txBody>
      </p:sp>
      <p:sp>
        <p:nvSpPr>
          <p:cNvPr id="8" name="Footer Placeholder 7">
            <a:extLst>
              <a:ext uri="{FF2B5EF4-FFF2-40B4-BE49-F238E27FC236}">
                <a16:creationId xmlns:a16="http://schemas.microsoft.com/office/drawing/2014/main" id="{8473E561-CC33-4A00-9D06-F9EDC0BA7353}"/>
              </a:ext>
            </a:extLst>
          </p:cNvPr>
          <p:cNvSpPr>
            <a:spLocks noGrp="1"/>
          </p:cNvSpPr>
          <p:nvPr>
            <p:ph type="ftr" sz="quarter" idx="11"/>
          </p:nvPr>
        </p:nvSpPr>
        <p:spPr/>
        <p:txBody>
          <a:bodyPr/>
          <a:lstStyle/>
          <a:p>
            <a:r>
              <a:rPr lang="en-US"/>
              <a:t>CONTRACTS GLOSSARY </a:t>
            </a:r>
          </a:p>
        </p:txBody>
      </p:sp>
      <p:sp>
        <p:nvSpPr>
          <p:cNvPr id="9" name="Slide Number Placeholder 8">
            <a:extLst>
              <a:ext uri="{FF2B5EF4-FFF2-40B4-BE49-F238E27FC236}">
                <a16:creationId xmlns:a16="http://schemas.microsoft.com/office/drawing/2014/main" id="{0ED0F952-821E-4C1E-92CA-BBA74C89256A}"/>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29574985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45BF3E53-7A3D-40D5-AE68-3CE44909F1CF}"/>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60530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4" name="Bristol Myers Squibb" descr="Bristol Myers Squibb">
            <a:extLst>
              <a:ext uri="{FF2B5EF4-FFF2-40B4-BE49-F238E27FC236}">
                <a16:creationId xmlns:a16="http://schemas.microsoft.com/office/drawing/2014/main" id="{B50985CD-7333-F343-85B8-C4893E81FC91}"/>
              </a:ext>
            </a:extLst>
          </p:cNvPr>
          <p:cNvPicPr>
            <a:picLocks noChangeAspect="1"/>
          </p:cNvPicPr>
          <p:nvPr userDrawn="1"/>
        </p:nvPicPr>
        <p:blipFill>
          <a:blip r:embed="rId2"/>
          <a:stretch>
            <a:fillRect/>
          </a:stretch>
        </p:blipFill>
        <p:spPr bwMode="black">
          <a:xfrm>
            <a:off x="1645920" y="2194560"/>
            <a:ext cx="9056906" cy="2286000"/>
          </a:xfrm>
          <a:prstGeom prst="rect">
            <a:avLst/>
          </a:prstGeom>
          <a:noFill/>
        </p:spPr>
      </p:pic>
    </p:spTree>
    <p:extLst>
      <p:ext uri="{BB962C8B-B14F-4D97-AF65-F5344CB8AC3E}">
        <p14:creationId xmlns:p14="http://schemas.microsoft.com/office/powerpoint/2010/main" val="278510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7" name="Bristol Myers Squibb" descr="Bristol Myers Squibb">
            <a:extLst>
              <a:ext uri="{FF2B5EF4-FFF2-40B4-BE49-F238E27FC236}">
                <a16:creationId xmlns:a16="http://schemas.microsoft.com/office/drawing/2014/main" id="{91000A19-9025-2C4A-9321-625720905BF5}"/>
              </a:ext>
            </a:extLst>
          </p:cNvPr>
          <p:cNvPicPr>
            <a:picLocks noChangeAspect="1"/>
          </p:cNvPicPr>
          <p:nvPr userDrawn="1"/>
        </p:nvPicPr>
        <p:blipFill>
          <a:blip r:embed="rId2"/>
          <a:stretch>
            <a:fillRect/>
          </a:stretch>
        </p:blipFill>
        <p:spPr bwMode="black">
          <a:xfrm>
            <a:off x="150688" y="5913096"/>
            <a:ext cx="3260484" cy="822960"/>
          </a:xfrm>
          <a:prstGeom prst="rect">
            <a:avLst/>
          </a:prstGeom>
          <a:noFill/>
        </p:spPr>
      </p:pic>
      <p:sp>
        <p:nvSpPr>
          <p:cNvPr id="8" name="Thank You">
            <a:extLst>
              <a:ext uri="{FF2B5EF4-FFF2-40B4-BE49-F238E27FC236}">
                <a16:creationId xmlns:a16="http://schemas.microsoft.com/office/drawing/2014/main" id="{2DF7BC51-D766-5D44-8D23-2A1F0BF208B3}"/>
              </a:ext>
            </a:extLst>
          </p:cNvPr>
          <p:cNvSpPr txBox="1">
            <a:spLocks/>
          </p:cNvSpPr>
          <p:nvPr userDrawn="1"/>
        </p:nvSpPr>
        <p:spPr>
          <a:xfrm>
            <a:off x="365760" y="1554480"/>
            <a:ext cx="7543165" cy="1828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0" kern="1200" spc="0" baseline="0">
                <a:solidFill>
                  <a:schemeClr val="tx1"/>
                </a:solidFill>
                <a:latin typeface="+mj-lt"/>
                <a:ea typeface="+mj-ea"/>
                <a:cs typeface="+mj-cs"/>
              </a:defRPr>
            </a:lvl1pPr>
          </a:lstStyle>
          <a:p>
            <a:r>
              <a:rPr lang="en-US"/>
              <a:t>Thank you</a:t>
            </a:r>
          </a:p>
        </p:txBody>
      </p:sp>
      <p:sp>
        <p:nvSpPr>
          <p:cNvPr id="5" name="Text Placeholder 1">
            <a:extLst>
              <a:ext uri="{FF2B5EF4-FFF2-40B4-BE49-F238E27FC236}">
                <a16:creationId xmlns:a16="http://schemas.microsoft.com/office/drawing/2014/main" id="{03D75AF2-C99D-9247-B7AF-B859D95DB41A}"/>
              </a:ext>
            </a:extLst>
          </p:cNvPr>
          <p:cNvSpPr>
            <a:spLocks noGrp="1"/>
          </p:cNvSpPr>
          <p:nvPr>
            <p:ph type="body" sz="quarter" idx="10" hasCustomPrompt="1"/>
          </p:nvPr>
        </p:nvSpPr>
        <p:spPr>
          <a:xfrm>
            <a:off x="365760" y="4434840"/>
            <a:ext cx="7543165" cy="1371600"/>
          </a:xfrm>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a:t>[Optional contact information]</a:t>
            </a:r>
          </a:p>
        </p:txBody>
      </p:sp>
    </p:spTree>
    <p:extLst>
      <p:ext uri="{BB962C8B-B14F-4D97-AF65-F5344CB8AC3E}">
        <p14:creationId xmlns:p14="http://schemas.microsoft.com/office/powerpoint/2010/main" val="188739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
        <p:nvSpPr>
          <p:cNvPr id="5" name="Title 1">
            <a:extLst>
              <a:ext uri="{FF2B5EF4-FFF2-40B4-BE49-F238E27FC236}">
                <a16:creationId xmlns:a16="http://schemas.microsoft.com/office/drawing/2014/main" id="{F3BF7EB1-E0B5-40D5-8DAC-560E9CA8CA7D}"/>
              </a:ext>
            </a:extLst>
          </p:cNvPr>
          <p:cNvSpPr>
            <a:spLocks noGrp="1"/>
          </p:cNvSpPr>
          <p:nvPr>
            <p:ph type="title" hasCustomPrompt="1"/>
          </p:nvPr>
        </p:nvSpPr>
        <p:spPr>
          <a:xfrm>
            <a:off x="365760" y="365760"/>
            <a:ext cx="11460480" cy="469264"/>
          </a:xfrm>
        </p:spPr>
        <p:txBody>
          <a:bodyPr/>
          <a:lstStyle>
            <a:lvl1pPr>
              <a:defRPr/>
            </a:lvl1pPr>
          </a:lstStyle>
          <a:p>
            <a:r>
              <a:rPr lang="en-US"/>
              <a:t>[Slide title]</a:t>
            </a:r>
          </a:p>
        </p:txBody>
      </p:sp>
      <p:sp>
        <p:nvSpPr>
          <p:cNvPr id="7" name="Text Placeholder 4">
            <a:extLst>
              <a:ext uri="{FF2B5EF4-FFF2-40B4-BE49-F238E27FC236}">
                <a16:creationId xmlns:a16="http://schemas.microsoft.com/office/drawing/2014/main" id="{BBDB4D66-5EA5-48DC-B1EA-5FC6BFEBE430}"/>
              </a:ext>
            </a:extLst>
          </p:cNvPr>
          <p:cNvSpPr>
            <a:spLocks noGrp="1"/>
          </p:cNvSpPr>
          <p:nvPr>
            <p:ph type="body" sz="quarter" idx="13" hasCustomPrompt="1"/>
          </p:nvPr>
        </p:nvSpPr>
        <p:spPr>
          <a:xfrm>
            <a:off x="365125" y="835024"/>
            <a:ext cx="11461750" cy="606149"/>
          </a:xfrm>
        </p:spPr>
        <p:txBody>
          <a:bodyPr/>
          <a:lstStyle>
            <a:lvl1pPr marL="0" indent="0">
              <a:buNone/>
              <a:defRPr sz="1800"/>
            </a:lvl1pPr>
          </a:lstStyle>
          <a:p>
            <a:pPr lvl="0"/>
            <a:r>
              <a:rPr lang="en-US"/>
              <a:t>[Slide Subtitle]</a:t>
            </a:r>
          </a:p>
        </p:txBody>
      </p:sp>
    </p:spTree>
    <p:extLst>
      <p:ext uri="{BB962C8B-B14F-4D97-AF65-F5344CB8AC3E}">
        <p14:creationId xmlns:p14="http://schemas.microsoft.com/office/powerpoint/2010/main" val="385052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5_Title &amp; Subtitle copy 3">
    <p:spTree>
      <p:nvGrpSpPr>
        <p:cNvPr id="1" name=""/>
        <p:cNvGrpSpPr/>
        <p:nvPr/>
      </p:nvGrpSpPr>
      <p:grpSpPr>
        <a:xfrm>
          <a:off x="0" y="0"/>
          <a:ext cx="0" cy="0"/>
          <a:chOff x="0" y="0"/>
          <a:chExt cx="0" cy="0"/>
        </a:xfrm>
      </p:grpSpPr>
      <p:sp>
        <p:nvSpPr>
          <p:cNvPr id="7" name="Shape 23">
            <a:extLst>
              <a:ext uri="{FF2B5EF4-FFF2-40B4-BE49-F238E27FC236}">
                <a16:creationId xmlns:a16="http://schemas.microsoft.com/office/drawing/2014/main" id="{EB677977-C1E4-F54E-A5B5-1699F4D07717}"/>
              </a:ext>
            </a:extLst>
          </p:cNvPr>
          <p:cNvSpPr/>
          <p:nvPr userDrawn="1"/>
        </p:nvSpPr>
        <p:spPr>
          <a:xfrm>
            <a:off x="-50800" y="1"/>
            <a:ext cx="12293600" cy="6921500"/>
          </a:xfrm>
          <a:prstGeom prst="rect">
            <a:avLst/>
          </a:prstGeom>
          <a:gradFill>
            <a:gsLst>
              <a:gs pos="0">
                <a:srgbClr val="FBFBFB"/>
              </a:gs>
              <a:gs pos="100000">
                <a:srgbClr val="E0E0E0"/>
              </a:gs>
            </a:gsLst>
            <a:lin ang="5400000"/>
          </a:gradFill>
          <a:ln w="12700">
            <a:miter lim="400000"/>
          </a:ln>
          <a:effectLst>
            <a:outerShdw blurRad="38100" dist="25400" dir="5400000" rotWithShape="0">
              <a:srgbClr val="000000">
                <a:alpha val="50000"/>
              </a:srgbClr>
            </a:outerShdw>
          </a:effectLst>
        </p:spPr>
        <p:txBody>
          <a:bodyPr lIns="25400" tIns="25400" rIns="25400" bIns="25400" anchor="ctr"/>
          <a:lstStyle/>
          <a:p>
            <a:pPr>
              <a:defRPr sz="3200"/>
            </a:pPr>
            <a:endParaRPr sz="1600"/>
          </a:p>
        </p:txBody>
      </p:sp>
      <p:sp>
        <p:nvSpPr>
          <p:cNvPr id="6" name="Text Placeholder 4">
            <a:extLst>
              <a:ext uri="{FF2B5EF4-FFF2-40B4-BE49-F238E27FC236}">
                <a16:creationId xmlns:a16="http://schemas.microsoft.com/office/drawing/2014/main" id="{76BB2A89-3F8C-694D-A8A8-A57F47EC2C84}"/>
              </a:ext>
            </a:extLst>
          </p:cNvPr>
          <p:cNvSpPr>
            <a:spLocks noGrp="1"/>
          </p:cNvSpPr>
          <p:nvPr>
            <p:ph type="body" sz="quarter" idx="10" hasCustomPrompt="1"/>
          </p:nvPr>
        </p:nvSpPr>
        <p:spPr>
          <a:xfrm>
            <a:off x="1679944" y="76627"/>
            <a:ext cx="8973880" cy="605632"/>
          </a:xfrm>
          <a:prstGeom prst="rect">
            <a:avLst/>
          </a:prstGeom>
        </p:spPr>
        <p:txBody>
          <a:bodyPr/>
          <a:lstStyle>
            <a:lvl1pPr algn="l">
              <a:defRPr sz="3600" b="1">
                <a:solidFill>
                  <a:schemeClr val="bg1"/>
                </a:solidFill>
              </a:defRPr>
            </a:lvl1pPr>
            <a:lvl2pPr algn="l">
              <a:defRPr sz="3600"/>
            </a:lvl2pPr>
            <a:lvl3pPr algn="l">
              <a:defRPr sz="3600"/>
            </a:lvl3pPr>
            <a:lvl4pPr algn="l">
              <a:defRPr sz="3600"/>
            </a:lvl4pPr>
            <a:lvl5pPr algn="l">
              <a:defRPr sz="3600"/>
            </a:lvl5pPr>
          </a:lstStyle>
          <a:p>
            <a:pPr lvl="0"/>
            <a:r>
              <a:rPr lang="en-US"/>
              <a:t>SLIDE TITLE</a:t>
            </a:r>
          </a:p>
        </p:txBody>
      </p:sp>
      <p:sp>
        <p:nvSpPr>
          <p:cNvPr id="10" name="Text Placeholder 4">
            <a:extLst>
              <a:ext uri="{FF2B5EF4-FFF2-40B4-BE49-F238E27FC236}">
                <a16:creationId xmlns:a16="http://schemas.microsoft.com/office/drawing/2014/main" id="{358FAA72-7DC3-3342-A12D-7680D1F40A9F}"/>
              </a:ext>
            </a:extLst>
          </p:cNvPr>
          <p:cNvSpPr>
            <a:spLocks noGrp="1"/>
          </p:cNvSpPr>
          <p:nvPr>
            <p:ph type="body" sz="quarter" idx="11" hasCustomPrompt="1"/>
          </p:nvPr>
        </p:nvSpPr>
        <p:spPr>
          <a:xfrm>
            <a:off x="161464" y="937473"/>
            <a:ext cx="11909719" cy="5481104"/>
          </a:xfrm>
          <a:prstGeom prst="rect">
            <a:avLst/>
          </a:prstGeom>
        </p:spPr>
        <p:txBody>
          <a:bodyPr/>
          <a:lstStyle>
            <a:lvl1pPr algn="l">
              <a:defRPr sz="2133" b="0">
                <a:solidFill>
                  <a:schemeClr val="tx1"/>
                </a:solidFill>
                <a:effectLst/>
              </a:defRPr>
            </a:lvl1pPr>
            <a:lvl2pPr algn="l">
              <a:defRPr sz="3600"/>
            </a:lvl2pPr>
            <a:lvl3pPr algn="l">
              <a:defRPr sz="3600"/>
            </a:lvl3pPr>
            <a:lvl4pPr algn="l">
              <a:defRPr sz="3600"/>
            </a:lvl4pPr>
            <a:lvl5pPr algn="l">
              <a:defRPr sz="3600"/>
            </a:lvl5pPr>
          </a:lstStyle>
          <a:p>
            <a:pPr lvl="0"/>
            <a:r>
              <a:rPr lang="en-US"/>
              <a:t>Copy</a:t>
            </a:r>
          </a:p>
        </p:txBody>
      </p:sp>
      <p:sp>
        <p:nvSpPr>
          <p:cNvPr id="11" name="Shape 24">
            <a:extLst>
              <a:ext uri="{FF2B5EF4-FFF2-40B4-BE49-F238E27FC236}">
                <a16:creationId xmlns:a16="http://schemas.microsoft.com/office/drawing/2014/main" id="{61E34DAD-E52F-4358-812D-623E44550112}"/>
              </a:ext>
            </a:extLst>
          </p:cNvPr>
          <p:cNvSpPr>
            <a:spLocks noGrp="1"/>
          </p:cNvSpPr>
          <p:nvPr>
            <p:ph type="sldNum" sz="quarter" idx="2"/>
          </p:nvPr>
        </p:nvSpPr>
        <p:spPr>
          <a:xfrm>
            <a:off x="11382112" y="6489291"/>
            <a:ext cx="731520" cy="270239"/>
          </a:xfrm>
          <a:prstGeom prst="rect">
            <a:avLst/>
          </a:prstGeom>
        </p:spPr>
        <p:txBody>
          <a:bodyPr/>
          <a:lstStyle>
            <a:lvl1pPr>
              <a:defRPr sz="933">
                <a:latin typeface="Century Gothic" charset="0"/>
                <a:ea typeface="Century Gothic" charset="0"/>
                <a:cs typeface="Century Gothic" charset="0"/>
              </a:defRPr>
            </a:lvl1pPr>
          </a:lstStyle>
          <a:p>
            <a:fld id="{86CB4B4D-7CA3-9044-876B-883B54F8677D}" type="slidenum">
              <a:rPr lang="uk-UA" smtClean="0"/>
              <a:pPr/>
              <a:t>‹#›</a:t>
            </a:fld>
            <a:endParaRPr lang="uk-UA"/>
          </a:p>
        </p:txBody>
      </p:sp>
    </p:spTree>
    <p:extLst>
      <p:ext uri="{BB962C8B-B14F-4D97-AF65-F5344CB8AC3E}">
        <p14:creationId xmlns:p14="http://schemas.microsoft.com/office/powerpoint/2010/main" val="3349098129"/>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itle Subtitle Only">
    <p:spTree>
      <p:nvGrpSpPr>
        <p:cNvPr id="1" name=""/>
        <p:cNvGrpSpPr/>
        <p:nvPr/>
      </p:nvGrpSpPr>
      <p:grpSpPr>
        <a:xfrm>
          <a:off x="0" y="0"/>
          <a:ext cx="0" cy="0"/>
          <a:chOff x="0" y="0"/>
          <a:chExt cx="0" cy="0"/>
        </a:xfrm>
      </p:grpSpPr>
      <p:sp>
        <p:nvSpPr>
          <p:cNvPr id="5" name="Slide Number Placeholder 1"/>
          <p:cNvSpPr txBox="1">
            <a:spLocks/>
          </p:cNvSpPr>
          <p:nvPr userDrawn="1"/>
        </p:nvSpPr>
        <p:spPr>
          <a:xfrm>
            <a:off x="9448800" y="6447367"/>
            <a:ext cx="2743200" cy="366183"/>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4F21604-FFA0-414A-B3CB-429711766981}" type="slidenum">
              <a:rPr lang="en-US" sz="1333" smtClean="0"/>
              <a:pPr/>
              <a:t>‹#›</a:t>
            </a:fld>
            <a:endParaRPr lang="en-US" sz="1333"/>
          </a:p>
        </p:txBody>
      </p:sp>
      <p:sp>
        <p:nvSpPr>
          <p:cNvPr id="6" name="Title Placeholder 1"/>
          <p:cNvSpPr>
            <a:spLocks noGrp="1"/>
          </p:cNvSpPr>
          <p:nvPr>
            <p:ph type="title"/>
          </p:nvPr>
        </p:nvSpPr>
        <p:spPr>
          <a:xfrm>
            <a:off x="1002664" y="-22278"/>
            <a:ext cx="10579736" cy="690673"/>
          </a:xfrm>
          <a:prstGeom prst="rect">
            <a:avLst/>
          </a:prstGeom>
        </p:spPr>
        <p:txBody>
          <a:bodyPr vert="horz" lIns="91440" tIns="45720" rIns="91440" bIns="45720" rtlCol="0" anchor="ctr">
            <a:normAutofit/>
          </a:bodyPr>
          <a:lstStyle/>
          <a:p>
            <a:r>
              <a:rPr lang="en-CA"/>
              <a:t>Click to edit Master title style</a:t>
            </a:r>
            <a:endParaRPr lang="en-US"/>
          </a:p>
        </p:txBody>
      </p:sp>
    </p:spTree>
    <p:extLst>
      <p:ext uri="{BB962C8B-B14F-4D97-AF65-F5344CB8AC3E}">
        <p14:creationId xmlns:p14="http://schemas.microsoft.com/office/powerpoint/2010/main" val="42126145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_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p>
        </p:txBody>
      </p:sp>
      <p:sp>
        <p:nvSpPr>
          <p:cNvPr id="11" name="Title 10"/>
          <p:cNvSpPr>
            <a:spLocks noGrp="1"/>
          </p:cNvSpPr>
          <p:nvPr>
            <p:ph type="title"/>
          </p:nvPr>
        </p:nvSpPr>
        <p:spPr/>
        <p:txBody>
          <a:bodyPr/>
          <a:lstStyle>
            <a:lvl1pPr>
              <a:defRPr b="1"/>
            </a:lvl1pPr>
          </a:lstStyle>
          <a:p>
            <a:r>
              <a:rPr lang="en-US"/>
              <a:t>Click to edit Master title style</a:t>
            </a:r>
          </a:p>
        </p:txBody>
      </p:sp>
    </p:spTree>
    <p:extLst>
      <p:ext uri="{BB962C8B-B14F-4D97-AF65-F5344CB8AC3E}">
        <p14:creationId xmlns:p14="http://schemas.microsoft.com/office/powerpoint/2010/main" val="588061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5BE35-090C-4249-8AB6-F6F144D80C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5EFC907-7881-4E14-AE64-1148EC6E7BEC}"/>
              </a:ext>
            </a:extLst>
          </p:cNvPr>
          <p:cNvSpPr>
            <a:spLocks noGrp="1"/>
          </p:cNvSpPr>
          <p:nvPr>
            <p:ph type="dt" sz="half" idx="10"/>
          </p:nvPr>
        </p:nvSpPr>
        <p:spPr/>
        <p:txBody>
          <a:bodyPr/>
          <a:lstStyle/>
          <a:p>
            <a:fld id="{1E233CF1-7431-4EB6-9C86-35636E833A0D}" type="datetime1">
              <a:rPr lang="en-US" smtClean="0"/>
              <a:t>9/2/2022</a:t>
            </a:fld>
            <a:endParaRPr lang="en-US"/>
          </a:p>
        </p:txBody>
      </p:sp>
      <p:sp>
        <p:nvSpPr>
          <p:cNvPr id="4" name="Footer Placeholder 3">
            <a:extLst>
              <a:ext uri="{FF2B5EF4-FFF2-40B4-BE49-F238E27FC236}">
                <a16:creationId xmlns:a16="http://schemas.microsoft.com/office/drawing/2014/main" id="{744CCCD7-91D9-4A5D-8056-2901FF8F1D15}"/>
              </a:ext>
            </a:extLst>
          </p:cNvPr>
          <p:cNvSpPr>
            <a:spLocks noGrp="1"/>
          </p:cNvSpPr>
          <p:nvPr>
            <p:ph type="ftr" sz="quarter" idx="11"/>
          </p:nvPr>
        </p:nvSpPr>
        <p:spPr/>
        <p:txBody>
          <a:bodyPr/>
          <a:lstStyle/>
          <a:p>
            <a:r>
              <a:rPr lang="en-US"/>
              <a:t>CONTRACTS GLOSSARY </a:t>
            </a:r>
          </a:p>
        </p:txBody>
      </p:sp>
      <p:sp>
        <p:nvSpPr>
          <p:cNvPr id="5" name="Slide Number Placeholder 4">
            <a:extLst>
              <a:ext uri="{FF2B5EF4-FFF2-40B4-BE49-F238E27FC236}">
                <a16:creationId xmlns:a16="http://schemas.microsoft.com/office/drawing/2014/main" id="{C2BFB258-EAA1-4A16-8B5F-92DE18FDC0D2}"/>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42093436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39C7C5-A6F5-47DE-A2AF-29551175D2C3}"/>
              </a:ext>
            </a:extLst>
          </p:cNvPr>
          <p:cNvSpPr>
            <a:spLocks noGrp="1"/>
          </p:cNvSpPr>
          <p:nvPr>
            <p:ph type="dt" sz="half" idx="10"/>
          </p:nvPr>
        </p:nvSpPr>
        <p:spPr/>
        <p:txBody>
          <a:bodyPr/>
          <a:lstStyle/>
          <a:p>
            <a:fld id="{538A6D04-8D38-4CC5-A0A3-03AD726FCAB5}" type="datetime1">
              <a:rPr lang="en-US" smtClean="0"/>
              <a:t>9/2/2022</a:t>
            </a:fld>
            <a:endParaRPr lang="en-US"/>
          </a:p>
        </p:txBody>
      </p:sp>
      <p:sp>
        <p:nvSpPr>
          <p:cNvPr id="3" name="Footer Placeholder 2">
            <a:extLst>
              <a:ext uri="{FF2B5EF4-FFF2-40B4-BE49-F238E27FC236}">
                <a16:creationId xmlns:a16="http://schemas.microsoft.com/office/drawing/2014/main" id="{228B6040-4E7C-42CD-AFD0-EB6E743A8530}"/>
              </a:ext>
            </a:extLst>
          </p:cNvPr>
          <p:cNvSpPr>
            <a:spLocks noGrp="1"/>
          </p:cNvSpPr>
          <p:nvPr>
            <p:ph type="ftr" sz="quarter" idx="11"/>
          </p:nvPr>
        </p:nvSpPr>
        <p:spPr/>
        <p:txBody>
          <a:bodyPr/>
          <a:lstStyle/>
          <a:p>
            <a:r>
              <a:rPr lang="en-US"/>
              <a:t>CONTRACTS GLOSSARY </a:t>
            </a:r>
          </a:p>
        </p:txBody>
      </p:sp>
      <p:sp>
        <p:nvSpPr>
          <p:cNvPr id="4" name="Slide Number Placeholder 3">
            <a:extLst>
              <a:ext uri="{FF2B5EF4-FFF2-40B4-BE49-F238E27FC236}">
                <a16:creationId xmlns:a16="http://schemas.microsoft.com/office/drawing/2014/main" id="{FC5142AE-8263-40C8-89B6-FAF81D5626B9}"/>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3235730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6EECB-5CE1-4E0F-A2C6-3D1D831961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9DD4A57-F2DB-4790-9D5C-D795F8075A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1EEEBD5-6364-4EB8-B3AA-BA8F17916E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4A575C-5B20-4512-9BC5-771AEDAB5E4C}"/>
              </a:ext>
            </a:extLst>
          </p:cNvPr>
          <p:cNvSpPr>
            <a:spLocks noGrp="1"/>
          </p:cNvSpPr>
          <p:nvPr>
            <p:ph type="dt" sz="half" idx="10"/>
          </p:nvPr>
        </p:nvSpPr>
        <p:spPr/>
        <p:txBody>
          <a:bodyPr/>
          <a:lstStyle/>
          <a:p>
            <a:fld id="{B74233F9-8018-4681-AB71-7F897977516A}" type="datetime1">
              <a:rPr lang="en-US" smtClean="0"/>
              <a:t>9/2/2022</a:t>
            </a:fld>
            <a:endParaRPr lang="en-US"/>
          </a:p>
        </p:txBody>
      </p:sp>
      <p:sp>
        <p:nvSpPr>
          <p:cNvPr id="6" name="Footer Placeholder 5">
            <a:extLst>
              <a:ext uri="{FF2B5EF4-FFF2-40B4-BE49-F238E27FC236}">
                <a16:creationId xmlns:a16="http://schemas.microsoft.com/office/drawing/2014/main" id="{8477C635-225A-4661-898A-3589192A16FF}"/>
              </a:ext>
            </a:extLst>
          </p:cNvPr>
          <p:cNvSpPr>
            <a:spLocks noGrp="1"/>
          </p:cNvSpPr>
          <p:nvPr>
            <p:ph type="ftr" sz="quarter" idx="11"/>
          </p:nvPr>
        </p:nvSpPr>
        <p:spPr/>
        <p:txBody>
          <a:bodyPr/>
          <a:lstStyle/>
          <a:p>
            <a:r>
              <a:rPr lang="en-US"/>
              <a:t>CONTRACTS GLOSSARY </a:t>
            </a:r>
          </a:p>
        </p:txBody>
      </p:sp>
      <p:sp>
        <p:nvSpPr>
          <p:cNvPr id="7" name="Slide Number Placeholder 6">
            <a:extLst>
              <a:ext uri="{FF2B5EF4-FFF2-40B4-BE49-F238E27FC236}">
                <a16:creationId xmlns:a16="http://schemas.microsoft.com/office/drawing/2014/main" id="{BD866745-A88D-4577-9D9B-FCE6509FCB86}"/>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3635293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7F678-A370-4B9A-8DD4-6DBA3F313E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2CCEDBB-A0D1-4E12-8588-79AB18FC3A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906B40E-64E9-4AD4-8045-BFAB842002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6EFBA4-D07C-44D7-A42A-5BC03378EC42}"/>
              </a:ext>
            </a:extLst>
          </p:cNvPr>
          <p:cNvSpPr>
            <a:spLocks noGrp="1"/>
          </p:cNvSpPr>
          <p:nvPr>
            <p:ph type="dt" sz="half" idx="10"/>
          </p:nvPr>
        </p:nvSpPr>
        <p:spPr/>
        <p:txBody>
          <a:bodyPr/>
          <a:lstStyle/>
          <a:p>
            <a:fld id="{D8622C37-46E2-4C64-9071-77F0DA6CAB1D}" type="datetime1">
              <a:rPr lang="en-US" smtClean="0"/>
              <a:t>9/2/2022</a:t>
            </a:fld>
            <a:endParaRPr lang="en-US"/>
          </a:p>
        </p:txBody>
      </p:sp>
      <p:sp>
        <p:nvSpPr>
          <p:cNvPr id="6" name="Footer Placeholder 5">
            <a:extLst>
              <a:ext uri="{FF2B5EF4-FFF2-40B4-BE49-F238E27FC236}">
                <a16:creationId xmlns:a16="http://schemas.microsoft.com/office/drawing/2014/main" id="{79D0A4EC-1BAF-463B-B0BD-EA8C69B5C214}"/>
              </a:ext>
            </a:extLst>
          </p:cNvPr>
          <p:cNvSpPr>
            <a:spLocks noGrp="1"/>
          </p:cNvSpPr>
          <p:nvPr>
            <p:ph type="ftr" sz="quarter" idx="11"/>
          </p:nvPr>
        </p:nvSpPr>
        <p:spPr/>
        <p:txBody>
          <a:bodyPr/>
          <a:lstStyle/>
          <a:p>
            <a:r>
              <a:rPr lang="en-US"/>
              <a:t>CONTRACTS GLOSSARY </a:t>
            </a:r>
          </a:p>
        </p:txBody>
      </p:sp>
      <p:sp>
        <p:nvSpPr>
          <p:cNvPr id="7" name="Slide Number Placeholder 6">
            <a:extLst>
              <a:ext uri="{FF2B5EF4-FFF2-40B4-BE49-F238E27FC236}">
                <a16:creationId xmlns:a16="http://schemas.microsoft.com/office/drawing/2014/main" id="{D6F63853-B166-43BE-8904-39E6D8DFBB46}"/>
              </a:ext>
            </a:extLst>
          </p:cNvPr>
          <p:cNvSpPr>
            <a:spLocks noGrp="1"/>
          </p:cNvSpPr>
          <p:nvPr>
            <p:ph type="sldNum" sz="quarter" idx="12"/>
          </p:nvPr>
        </p:nvSpPr>
        <p:spPr/>
        <p:txBody>
          <a:bodyPr/>
          <a:lstStyle/>
          <a:p>
            <a:fld id="{6C0CB0D9-2810-4C2D-9911-B060E9D7F6C6}" type="slidenum">
              <a:rPr lang="en-US" smtClean="0"/>
              <a:t>‹#›</a:t>
            </a:fld>
            <a:endParaRPr lang="en-US"/>
          </a:p>
        </p:txBody>
      </p:sp>
    </p:spTree>
    <p:extLst>
      <p:ext uri="{BB962C8B-B14F-4D97-AF65-F5344CB8AC3E}">
        <p14:creationId xmlns:p14="http://schemas.microsoft.com/office/powerpoint/2010/main" val="32431421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tags" Target="../tags/tag2.xml"/><Relationship Id="rId50" Type="http://schemas.openxmlformats.org/officeDocument/2006/relationships/image" Target="../media/image3.emf"/><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image" Target="../media/image4.emf"/><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oleObject" Target="../embeddings/oleObject1.bin"/><Relationship Id="rId8" Type="http://schemas.openxmlformats.org/officeDocument/2006/relationships/slideLayout" Target="../slideLayouts/slideLayout20.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tags" Target="../tags/tag1.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3CAEE7E-ACFF-49F5-97F0-CE26DF35D5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08CFF1F-34FB-461C-9332-7F9B30E5B4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65A519-783A-4577-9BC8-954FADF76F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8C5DB-F83F-4F39-8DDA-34D0A0250D86}" type="datetime1">
              <a:rPr lang="en-US" smtClean="0"/>
              <a:t>9/2/2022</a:t>
            </a:fld>
            <a:endParaRPr lang="en-US"/>
          </a:p>
        </p:txBody>
      </p:sp>
      <p:sp>
        <p:nvSpPr>
          <p:cNvPr id="5" name="Footer Placeholder 4">
            <a:extLst>
              <a:ext uri="{FF2B5EF4-FFF2-40B4-BE49-F238E27FC236}">
                <a16:creationId xmlns:a16="http://schemas.microsoft.com/office/drawing/2014/main" id="{31E1E016-771D-4A1E-B4A3-7CBC6DA837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TRACTS GLOSSARY </a:t>
            </a:r>
          </a:p>
        </p:txBody>
      </p:sp>
      <p:sp>
        <p:nvSpPr>
          <p:cNvPr id="6" name="Slide Number Placeholder 5">
            <a:extLst>
              <a:ext uri="{FF2B5EF4-FFF2-40B4-BE49-F238E27FC236}">
                <a16:creationId xmlns:a16="http://schemas.microsoft.com/office/drawing/2014/main" id="{09DE3F98-121C-461D-BDB1-21C5BA1C87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0CB0D9-2810-4C2D-9911-B060E9D7F6C6}" type="slidenum">
              <a:rPr lang="en-US" smtClean="0"/>
              <a:t>‹#›</a:t>
            </a:fld>
            <a:endParaRPr lang="en-US"/>
          </a:p>
        </p:txBody>
      </p:sp>
    </p:spTree>
    <p:extLst>
      <p:ext uri="{BB962C8B-B14F-4D97-AF65-F5344CB8AC3E}">
        <p14:creationId xmlns:p14="http://schemas.microsoft.com/office/powerpoint/2010/main" val="208464102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1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7AE2442-FC16-47F6-AD03-9E70B0A33FCD}"/>
              </a:ext>
            </a:extLst>
          </p:cNvPr>
          <p:cNvGraphicFramePr>
            <a:graphicFrameLocks noChangeAspect="1"/>
          </p:cNvGraphicFramePr>
          <p:nvPr userDrawn="1">
            <p:custDataLst>
              <p:tags r:id="rId46"/>
            </p:custDataLst>
            <p:extLst>
              <p:ext uri="{D42A27DB-BD31-4B8C-83A1-F6EECF244321}">
                <p14:modId xmlns:p14="http://schemas.microsoft.com/office/powerpoint/2010/main" val="2493483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70" imgH="469" progId="TCLayout.ActiveDocument.1">
                  <p:embed/>
                </p:oleObj>
              </mc:Choice>
              <mc:Fallback>
                <p:oleObj name="think-cell Slide" r:id="rId48" imgW="470" imgH="469" progId="TCLayout.ActiveDocument.1">
                  <p:embed/>
                  <p:pic>
                    <p:nvPicPr>
                      <p:cNvPr id="8" name="Object 7" hidden="1">
                        <a:extLst>
                          <a:ext uri="{FF2B5EF4-FFF2-40B4-BE49-F238E27FC236}">
                            <a16:creationId xmlns:a16="http://schemas.microsoft.com/office/drawing/2014/main" id="{A7AE2442-FC16-47F6-AD03-9E70B0A33FCD}"/>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560DD4-9EB8-4671-AC73-455972EFD950}"/>
              </a:ext>
            </a:extLst>
          </p:cNvPr>
          <p:cNvSpPr/>
          <p:nvPr userDrawn="1">
            <p:custDataLst>
              <p:tags r:id="rId47"/>
            </p:custDataLst>
          </p:nvPr>
        </p:nvSpPr>
        <p:spPr>
          <a:xfrm>
            <a:off x="0" y="0"/>
            <a:ext cx="158750" cy="158750"/>
          </a:xfrm>
          <a:prstGeom prst="rect">
            <a:avLst/>
          </a:prstGeom>
          <a:ln>
            <a:noFill/>
          </a:ln>
        </p:spPr>
        <p:style>
          <a:lnRef idx="0">
            <a:schemeClr val="accent1"/>
          </a:lnRef>
          <a:fillRef idx="1">
            <a:schemeClr val="accent1"/>
          </a:fillRef>
          <a:effectRef idx="0">
            <a:srgbClr val="000000"/>
          </a:effectRef>
          <a:fontRef idx="minor">
            <a:schemeClr val="lt1"/>
          </a:fontRef>
        </p:style>
        <p:txBody>
          <a:bodyPr wrap="none" lIns="0" tIns="0" rIns="0" bIns="0" numCol="1" spcCol="0" rtlCol="0" anchor="ctr" anchorCtr="0">
            <a:noAutofit/>
          </a:bodyPr>
          <a:lstStyle/>
          <a:p>
            <a:pPr marL="0" lvl="0" indent="0" algn="ctr">
              <a:lnSpc>
                <a:spcPct val="100000"/>
              </a:lnSpc>
            </a:pP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410C88FF-867A-4400-B205-E69EFB354EF3}"/>
              </a:ext>
            </a:extLst>
          </p:cNvPr>
          <p:cNvSpPr>
            <a:spLocks noGrp="1"/>
          </p:cNvSpPr>
          <p:nvPr>
            <p:ph type="title"/>
          </p:nvPr>
        </p:nvSpPr>
        <p:spPr>
          <a:xfrm>
            <a:off x="365760" y="365760"/>
            <a:ext cx="11460480" cy="914400"/>
          </a:xfrm>
          <a:prstGeom prst="rect">
            <a:avLst/>
          </a:prstGeom>
        </p:spPr>
        <p:txBody>
          <a:bodyPr vert="horz" lIns="0" tIns="0" rIns="0" bIns="0" rtlCol="0" anchor="t" anchorCtr="0">
            <a:noAutofit/>
          </a:bodyPr>
          <a:lstStyle/>
          <a:p>
            <a:r>
              <a:rPr lang="en-US"/>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365760" y="1554480"/>
            <a:ext cx="11460480" cy="4572000"/>
          </a:xfrm>
          <a:prstGeom prst="rect">
            <a:avLst/>
          </a:prstGeom>
        </p:spPr>
        <p:txBody>
          <a:bodyPr vert="horz" lIns="0" tIns="0" rIns="0" bIns="0" spcCol="301752"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Line">
            <a:extLst>
              <a:ext uri="{FF2B5EF4-FFF2-40B4-BE49-F238E27FC236}">
                <a16:creationId xmlns:a16="http://schemas.microsoft.com/office/drawing/2014/main" id="{B202EDA2-849C-5746-B520-4E5047A70604}"/>
              </a:ext>
              <a:ext uri="{C183D7F6-B498-43B3-948B-1728B52AA6E4}">
                <adec:decorative xmlns:adec="http://schemas.microsoft.com/office/drawing/2017/decorative" val="1"/>
              </a:ext>
            </a:extLst>
          </p:cNvPr>
          <p:cNvCxnSpPr>
            <a:cxnSpLocks/>
          </p:cNvCxnSpPr>
          <p:nvPr userDrawn="1"/>
        </p:nvCxnSpPr>
        <p:spPr bwMode="black">
          <a:xfrm>
            <a:off x="365760" y="6355080"/>
            <a:ext cx="11460480"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pic>
        <p:nvPicPr>
          <p:cNvPr id="5" name="Bristol Myers Squibb" descr="Bristol Myers Squibb">
            <a:extLst>
              <a:ext uri="{FF2B5EF4-FFF2-40B4-BE49-F238E27FC236}">
                <a16:creationId xmlns:a16="http://schemas.microsoft.com/office/drawing/2014/main" id="{B7697988-37C6-7C4A-AA57-C36971D11EEC}"/>
              </a:ext>
            </a:extLst>
          </p:cNvPr>
          <p:cNvPicPr>
            <a:picLocks noChangeAspect="1"/>
          </p:cNvPicPr>
          <p:nvPr userDrawn="1"/>
        </p:nvPicPr>
        <p:blipFill>
          <a:blip r:embed="rId50"/>
          <a:stretch>
            <a:fillRect/>
          </a:stretch>
        </p:blipFill>
        <p:spPr bwMode="black">
          <a:xfrm>
            <a:off x="258318" y="6355080"/>
            <a:ext cx="1627632" cy="410821"/>
          </a:xfrm>
          <a:prstGeom prst="rect">
            <a:avLst/>
          </a:prstGeom>
          <a:noFill/>
        </p:spPr>
      </p:pic>
      <p:grpSp>
        <p:nvGrpSpPr>
          <p:cNvPr id="4" name="Group">
            <a:extLst>
              <a:ext uri="{FF2B5EF4-FFF2-40B4-BE49-F238E27FC236}">
                <a16:creationId xmlns:a16="http://schemas.microsoft.com/office/drawing/2014/main" id="{D7F0AB66-B862-4C4F-8DBC-7443BBC9E0C7}"/>
              </a:ext>
            </a:extLst>
          </p:cNvPr>
          <p:cNvGrpSpPr/>
          <p:nvPr userDrawn="1"/>
        </p:nvGrpSpPr>
        <p:grpSpPr>
          <a:xfrm>
            <a:off x="1874520" y="6458891"/>
            <a:ext cx="3919729" cy="231734"/>
            <a:chOff x="1874520" y="6458891"/>
            <a:chExt cx="3919729" cy="231734"/>
          </a:xfrm>
        </p:grpSpPr>
        <p:cxnSp>
          <p:nvCxnSpPr>
            <p:cNvPr id="25" name="Line">
              <a:extLst>
                <a:ext uri="{FF2B5EF4-FFF2-40B4-BE49-F238E27FC236}">
                  <a16:creationId xmlns:a16="http://schemas.microsoft.com/office/drawing/2014/main" id="{DA9532AD-0553-FF47-B676-11BE658B2BBD}"/>
                </a:ext>
                <a:ext uri="{C183D7F6-B498-43B3-948B-1728B52AA6E4}">
                  <adec:decorative xmlns:adec="http://schemas.microsoft.com/office/drawing/2017/decorative" val="1"/>
                </a:ext>
              </a:extLst>
            </p:cNvPr>
            <p:cNvCxnSpPr/>
            <p:nvPr userDrawn="1"/>
          </p:nvCxnSpPr>
          <p:spPr bwMode="black">
            <a:xfrm>
              <a:off x="1874520" y="6458891"/>
              <a:ext cx="0" cy="22860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24" name="Division/Therapeutic Area">
              <a:extLst>
                <a:ext uri="{FF2B5EF4-FFF2-40B4-BE49-F238E27FC236}">
                  <a16:creationId xmlns:a16="http://schemas.microsoft.com/office/drawing/2014/main" id="{7F2981F2-EF0F-2349-8B4D-9E148ABFE89B}"/>
                </a:ext>
              </a:extLst>
            </p:cNvPr>
            <p:cNvSpPr txBox="1"/>
            <p:nvPr userDrawn="1"/>
          </p:nvSpPr>
          <p:spPr>
            <a:xfrm>
              <a:off x="2011680" y="6462065"/>
              <a:ext cx="3782569" cy="228560"/>
            </a:xfrm>
            <a:prstGeom prst="rect">
              <a:avLst/>
            </a:prstGeom>
            <a:noFill/>
          </p:spPr>
          <p:txBody>
            <a:bodyPr wrap="none" lIns="0" tIns="0" rIns="0" bIns="0" rtlCol="0" anchor="ctr" anchorCtr="0">
              <a:noAutofit/>
            </a:bodyPr>
            <a:lstStyle/>
            <a:p>
              <a:pPr marL="0" indent="0" algn="l">
                <a:lnSpc>
                  <a:spcPct val="100000"/>
                </a:lnSpc>
                <a:spcBef>
                  <a:spcPts val="0"/>
                </a:spcBef>
                <a:buSzPct val="100000"/>
                <a:buFontTx/>
                <a:buNone/>
              </a:pPr>
              <a:r>
                <a:rPr lang="en-US" sz="1100" b="0">
                  <a:solidFill>
                    <a:schemeClr val="tx1"/>
                  </a:solidFill>
                </a:rPr>
                <a:t>Strategic Sourcing &amp; Procurement</a:t>
              </a:r>
            </a:p>
          </p:txBody>
        </p:sp>
      </p:grpSp>
      <p:sp>
        <p:nvSpPr>
          <p:cNvPr id="16" name="Disclaimer">
            <a:extLst>
              <a:ext uri="{FF2B5EF4-FFF2-40B4-BE49-F238E27FC236}">
                <a16:creationId xmlns:a16="http://schemas.microsoft.com/office/drawing/2014/main" id="{A785335B-16F9-6F4B-9AC7-614641E447A6}"/>
              </a:ext>
            </a:extLst>
          </p:cNvPr>
          <p:cNvSpPr txBox="1"/>
          <p:nvPr userDrawn="1"/>
        </p:nvSpPr>
        <p:spPr>
          <a:xfrm>
            <a:off x="8205216" y="6429375"/>
            <a:ext cx="3209544" cy="228600"/>
          </a:xfrm>
          <a:prstGeom prst="rect">
            <a:avLst/>
          </a:prstGeom>
          <a:noFill/>
        </p:spPr>
        <p:txBody>
          <a:bodyPr wrap="square" lIns="0" tIns="0" rIns="0" bIns="9144" rtlCol="0" anchor="b" anchorCtr="0">
            <a:noAutofit/>
          </a:bodyPr>
          <a:lstStyle/>
          <a:p>
            <a:pPr marL="0" indent="0" algn="r">
              <a:lnSpc>
                <a:spcPct val="100000"/>
              </a:lnSpc>
              <a:spcBef>
                <a:spcPts val="0"/>
              </a:spcBef>
              <a:buSzPct val="100000"/>
              <a:buFontTx/>
              <a:buNone/>
            </a:pPr>
            <a:r>
              <a:rPr lang="en-US" sz="800" b="0"/>
              <a:t>Highly Confidential</a:t>
            </a:r>
          </a:p>
        </p:txBody>
      </p:sp>
      <p:sp>
        <p:nvSpPr>
          <p:cNvPr id="6" name="Slide Number Placeholder 3">
            <a:extLst>
              <a:ext uri="{FF2B5EF4-FFF2-40B4-BE49-F238E27FC236}">
                <a16:creationId xmlns:a16="http://schemas.microsoft.com/office/drawing/2014/main" id="{79012A93-F35D-41B8-A960-2FAFDF3C47A5}"/>
              </a:ext>
            </a:extLst>
          </p:cNvPr>
          <p:cNvSpPr>
            <a:spLocks noGrp="1"/>
          </p:cNvSpPr>
          <p:nvPr userDrawn="1">
            <p:ph type="sldNum" sz="quarter" idx="4"/>
          </p:nvPr>
        </p:nvSpPr>
        <p:spPr>
          <a:xfrm>
            <a:off x="11506200" y="6429375"/>
            <a:ext cx="320040" cy="228600"/>
          </a:xfrm>
          <a:prstGeom prst="rect">
            <a:avLst/>
          </a:prstGeom>
        </p:spPr>
        <p:txBody>
          <a:bodyPr vert="horz" wrap="none" lIns="0" tIns="0" rIns="0" bIns="0" rtlCol="0" anchor="b" anchorCtr="0"/>
          <a:lstStyle>
            <a:lvl1pPr algn="r">
              <a:defRPr sz="1000" b="1">
                <a:solidFill>
                  <a:schemeClr val="tx1"/>
                </a:solidFill>
              </a:defRPr>
            </a:lvl1pPr>
          </a:lstStyle>
          <a:p>
            <a:fld id="{B58DE5F1-E0F9-4CCA-92B7-7A6FC4DFEE14}" type="slidenum">
              <a:rPr lang="en-US" smtClean="0"/>
              <a:pPr/>
              <a:t>‹#›</a:t>
            </a:fld>
            <a:endParaRPr lang="en-US"/>
          </a:p>
        </p:txBody>
      </p:sp>
    </p:spTree>
    <p:extLst>
      <p:ext uri="{BB962C8B-B14F-4D97-AF65-F5344CB8AC3E}">
        <p14:creationId xmlns:p14="http://schemas.microsoft.com/office/powerpoint/2010/main" val="6035427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2000" kern="1200">
          <a:solidFill>
            <a:schemeClr val="tx1"/>
          </a:solidFill>
          <a:latin typeface="+mn-lt"/>
          <a:ea typeface="+mn-ea"/>
          <a:cs typeface="+mn-cs"/>
        </a:defRPr>
      </a:lvl1pPr>
      <a:lvl2pPr marL="457200" algn="l" defTabSz="914400" rtl="0" eaLnBrk="1" latinLnBrk="0" hangingPunct="1">
        <a:defRPr sz="2000" kern="1200">
          <a:solidFill>
            <a:schemeClr val="tx1"/>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0">
          <p15:clr>
            <a:srgbClr val="F26B43"/>
          </p15:clr>
        </p15:guide>
        <p15:guide id="2" pos="230">
          <p15:clr>
            <a:srgbClr val="F26B43"/>
          </p15:clr>
        </p15:guide>
        <p15:guide id="3" pos="7450">
          <p15:clr>
            <a:srgbClr val="F26B43"/>
          </p15:clr>
        </p15:guide>
        <p15:guide id="5" orient="horz" pos="978">
          <p15:clr>
            <a:srgbClr val="F26B43"/>
          </p15:clr>
        </p15:guide>
        <p15:guide id="6" orient="horz" pos="38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6.xml"/><Relationship Id="rId6" Type="http://schemas.openxmlformats.org/officeDocument/2006/relationships/image" Target="../media/image7.png"/><Relationship Id="rId5" Type="http://schemas.openxmlformats.org/officeDocument/2006/relationships/hyperlink" Target="https://sites.bms.com/:b:/r/teams/contracting/Shared%20Documents/Training/By%20Contract%20Type/SOW/How%20to%20Create%20a%20SOW%20(One%20Step).pdf?csf=1&amp;web=1&amp;e=2buhAv" TargetMode="External"/><Relationship Id="rId4" Type="http://schemas.openxmlformats.org/officeDocument/2006/relationships/hyperlink" Target="https://sites.bms.com/teams/contracting/Shared%20Documents/Forms/AllItems.aspx?csf=1&amp;web=1&amp;e=KaTbfh&amp;cid=9626c262%2D8654%2D4fa8%2D95af%2D287219766dd3&amp;FolderCTID=0x01200035860CFBA0401B499CF3AD92078837DE&amp;id=%2Fteams%2Fcontracting%2FShared%20Documents%2FTraining%2FContract%20Glossary%2FIcertis%20Contract%20Glossary%5FvF%2Epdf&amp;parent=%2Fteams%2Fcontracting%2FShared%20Documents%2FTraining%2FContract%20Glossary"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hyperlink" Target="https://buyerportal.bms.com/" TargetMode="External"/><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hyperlink" Target="https://buyerportal.bms.com/" TargetMode="External"/><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notesSlide" Target="../notesSlides/notesSlide6.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hyperlink" Target="http://buyerportal.bms.com" TargetMode="External"/><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28E3B9D-66E7-4999-B300-DB0C6285975D}"/>
              </a:ext>
            </a:extLst>
          </p:cNvPr>
          <p:cNvSpPr/>
          <p:nvPr/>
        </p:nvSpPr>
        <p:spPr>
          <a:xfrm>
            <a:off x="0" y="0"/>
            <a:ext cx="12192000" cy="6901466"/>
          </a:xfrm>
          <a:prstGeom prst="rect">
            <a:avLst/>
          </a:prstGeom>
          <a:solidFill>
            <a:srgbClr val="EEE7E7"/>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rebuchet MS"/>
              <a:ea typeface="+mn-ea"/>
              <a:cs typeface="+mn-cs"/>
            </a:endParaRPr>
          </a:p>
        </p:txBody>
      </p:sp>
      <p:sp>
        <p:nvSpPr>
          <p:cNvPr id="3" name="Content Placeholder 2">
            <a:extLst>
              <a:ext uri="{FF2B5EF4-FFF2-40B4-BE49-F238E27FC236}">
                <a16:creationId xmlns:a16="http://schemas.microsoft.com/office/drawing/2014/main" id="{EA5062CB-E9B3-44F5-B02A-ACF5023B4203}"/>
              </a:ext>
            </a:extLst>
          </p:cNvPr>
          <p:cNvSpPr>
            <a:spLocks noGrp="1"/>
          </p:cNvSpPr>
          <p:nvPr>
            <p:ph idx="1"/>
          </p:nvPr>
        </p:nvSpPr>
        <p:spPr>
          <a:xfrm>
            <a:off x="455839" y="1420232"/>
            <a:ext cx="6076621" cy="624038"/>
          </a:xfrm>
        </p:spPr>
        <p:txBody>
          <a:bodyPr vert="horz" lIns="0" tIns="0" rIns="0" bIns="0" spcCol="301752" rtlCol="0" anchor="t">
            <a:noAutofit/>
          </a:bodyPr>
          <a:lstStyle/>
          <a:p>
            <a:pPr marL="0" indent="0">
              <a:buNone/>
            </a:pPr>
            <a:r>
              <a:rPr lang="en-US" sz="4800">
                <a:latin typeface="BMS Humanity Thin"/>
              </a:rPr>
              <a:t>Icertis Intake From </a:t>
            </a:r>
          </a:p>
          <a:p>
            <a:pPr marL="0" indent="0">
              <a:buNone/>
            </a:pPr>
            <a:r>
              <a:rPr lang="en-US" sz="4800">
                <a:latin typeface="BMS Humanity Thin"/>
              </a:rPr>
              <a:t>"Cheat Sheet"</a:t>
            </a:r>
          </a:p>
        </p:txBody>
      </p:sp>
      <p:sp>
        <p:nvSpPr>
          <p:cNvPr id="6" name="Rectangle 5">
            <a:extLst>
              <a:ext uri="{FF2B5EF4-FFF2-40B4-BE49-F238E27FC236}">
                <a16:creationId xmlns:a16="http://schemas.microsoft.com/office/drawing/2014/main" id="{99B22FF4-565D-4B75-A67A-27D8E2C4951A}"/>
              </a:ext>
            </a:extLst>
          </p:cNvPr>
          <p:cNvSpPr/>
          <p:nvPr/>
        </p:nvSpPr>
        <p:spPr>
          <a:xfrm>
            <a:off x="455839" y="3464833"/>
            <a:ext cx="454025" cy="114300"/>
          </a:xfrm>
          <a:prstGeom prst="rect">
            <a:avLst/>
          </a:prstGeom>
          <a:solidFill>
            <a:srgbClr val="BE2BBB"/>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rebuchet MS"/>
              <a:ea typeface="+mn-ea"/>
              <a:cs typeface="+mn-cs"/>
            </a:endParaRPr>
          </a:p>
        </p:txBody>
      </p:sp>
      <p:pic>
        <p:nvPicPr>
          <p:cNvPr id="5" name="Graphic 4">
            <a:extLst>
              <a:ext uri="{FF2B5EF4-FFF2-40B4-BE49-F238E27FC236}">
                <a16:creationId xmlns:a16="http://schemas.microsoft.com/office/drawing/2014/main" id="{584BCF50-C20A-4181-B5F4-8BA65113CD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2856" y="2844185"/>
            <a:ext cx="10635344" cy="3817296"/>
          </a:xfrm>
          <a:prstGeom prst="rect">
            <a:avLst/>
          </a:prstGeom>
        </p:spPr>
      </p:pic>
      <p:sp>
        <p:nvSpPr>
          <p:cNvPr id="7" name="TextBox 6">
            <a:extLst>
              <a:ext uri="{FF2B5EF4-FFF2-40B4-BE49-F238E27FC236}">
                <a16:creationId xmlns:a16="http://schemas.microsoft.com/office/drawing/2014/main" id="{6F1D5453-2131-4144-82F7-F74904792892}"/>
              </a:ext>
            </a:extLst>
          </p:cNvPr>
          <p:cNvSpPr txBox="1"/>
          <p:nvPr/>
        </p:nvSpPr>
        <p:spPr>
          <a:xfrm>
            <a:off x="475532" y="3595839"/>
            <a:ext cx="5882477" cy="1340967"/>
          </a:xfrm>
          <a:prstGeom prst="rect">
            <a:avLst/>
          </a:prstGeom>
          <a:noFill/>
        </p:spPr>
        <p:txBody>
          <a:bodyPr wrap="square" lIns="0" tIns="0" rIns="0" bIns="0" rtlCol="0" anchor="t">
            <a:noAutofit/>
          </a:bodyPr>
          <a:lstStyle/>
          <a:p>
            <a:pPr>
              <a:spcBef>
                <a:spcPts val="1200"/>
              </a:spcBef>
              <a:buSzPct val="100000"/>
              <a:defRPr/>
            </a:pPr>
            <a:r>
              <a:rPr kumimoji="0" lang="en-US" sz="2000" b="0" i="0" u="none" strike="noStrike" kern="1200" cap="none" spc="0" normalizeH="0" baseline="0" noProof="0">
                <a:ln>
                  <a:noFill/>
                </a:ln>
                <a:solidFill>
                  <a:srgbClr val="595454"/>
                </a:solidFill>
                <a:effectLst/>
                <a:uLnTx/>
                <a:uFillTx/>
                <a:latin typeface="BMS Humanity"/>
              </a:rPr>
              <a:t>This</a:t>
            </a:r>
            <a:r>
              <a:rPr lang="en-US" sz="2000">
                <a:solidFill>
                  <a:srgbClr val="595454"/>
                </a:solidFill>
                <a:latin typeface="BMS Humanity"/>
              </a:rPr>
              <a:t> document</a:t>
            </a:r>
            <a:r>
              <a:rPr kumimoji="0" lang="en-US" sz="2000" b="1" i="0" u="none" strike="noStrike" kern="1200" cap="none" spc="0" normalizeH="0" baseline="0" noProof="0">
                <a:ln>
                  <a:noFill/>
                </a:ln>
                <a:solidFill>
                  <a:srgbClr val="595454"/>
                </a:solidFill>
                <a:effectLst/>
                <a:uLnTx/>
                <a:uFillTx/>
                <a:latin typeface="BMS Humanity"/>
              </a:rPr>
              <a:t> </a:t>
            </a:r>
            <a:r>
              <a:rPr lang="en-US" sz="2000">
                <a:solidFill>
                  <a:srgbClr val="595454"/>
                </a:solidFill>
                <a:latin typeface="BMS Humanity Light"/>
              </a:rPr>
              <a:t>serves as a cheat sheet as you populate fields that will display on your contract draft. Most of the fields present on this cheat sheet appear </a:t>
            </a:r>
            <a:r>
              <a:rPr lang="en-US" sz="2000" b="1">
                <a:solidFill>
                  <a:srgbClr val="595454"/>
                </a:solidFill>
                <a:latin typeface="BMS Humanity Light"/>
              </a:rPr>
              <a:t>when you create a MSA or SOW</a:t>
            </a:r>
            <a:r>
              <a:rPr lang="en-US" sz="2000">
                <a:solidFill>
                  <a:srgbClr val="595454"/>
                </a:solidFill>
                <a:latin typeface="BMS Humanity Light"/>
              </a:rPr>
              <a:t>.</a:t>
            </a:r>
          </a:p>
          <a:p>
            <a:pPr>
              <a:spcBef>
                <a:spcPts val="1200"/>
              </a:spcBef>
              <a:defRPr/>
            </a:pPr>
            <a:r>
              <a:rPr lang="en-US" sz="2000">
                <a:solidFill>
                  <a:srgbClr val="595454"/>
                </a:solidFill>
                <a:latin typeface="BMS Humanity Light"/>
              </a:rPr>
              <a:t>Corresponding Documents:</a:t>
            </a:r>
          </a:p>
          <a:p>
            <a:pPr marL="342900" indent="-342900">
              <a:buFont typeface="Arial"/>
              <a:buChar char="•"/>
              <a:defRPr/>
            </a:pPr>
            <a:r>
              <a:rPr lang="en-US" sz="2000" b="1">
                <a:solidFill>
                  <a:srgbClr val="BB2BBE"/>
                </a:solidFill>
                <a:latin typeface="BMS Humanity Light"/>
                <a:hlinkClick r:id="rId4">
                  <a:extLst>
                    <a:ext uri="{A12FA001-AC4F-418D-AE19-62706E023703}">
                      <ahyp:hlinkClr xmlns:ahyp="http://schemas.microsoft.com/office/drawing/2018/hyperlinkcolor" val="tx"/>
                    </a:ext>
                  </a:extLst>
                </a:hlinkClick>
              </a:rPr>
              <a:t>Contracts Glossary</a:t>
            </a:r>
            <a:endParaRPr lang="en-US" sz="2000" b="1">
              <a:solidFill>
                <a:srgbClr val="BB2BBE"/>
              </a:solidFill>
              <a:latin typeface="BMS Humanity Light"/>
            </a:endParaRPr>
          </a:p>
          <a:p>
            <a:pPr marL="342900" indent="-342900">
              <a:buFont typeface="Arial"/>
              <a:buChar char="•"/>
              <a:defRPr/>
            </a:pPr>
            <a:r>
              <a:rPr lang="en-US" sz="2000" b="1">
                <a:solidFill>
                  <a:srgbClr val="BB2BBE"/>
                </a:solidFill>
                <a:latin typeface="BMS Humanity Light"/>
                <a:hlinkClick r:id="rId5">
                  <a:extLst>
                    <a:ext uri="{A12FA001-AC4F-418D-AE19-62706E023703}">
                      <ahyp:hlinkClr xmlns:ahyp="http://schemas.microsoft.com/office/drawing/2018/hyperlinkcolor" val="tx"/>
                    </a:ext>
                  </a:extLst>
                </a:hlinkClick>
              </a:rPr>
              <a:t>Creating a SOW</a:t>
            </a:r>
            <a:endParaRPr lang="en-US" sz="2000" b="1">
              <a:solidFill>
                <a:srgbClr val="BB2BBE"/>
              </a:solidFill>
              <a:latin typeface="BMS Humanity Light"/>
            </a:endParaRPr>
          </a:p>
          <a:p>
            <a:pPr marL="342900" indent="-342900">
              <a:buFont typeface="Arial"/>
              <a:buChar char="•"/>
              <a:defRPr/>
            </a:pPr>
            <a:r>
              <a:rPr lang="en-US" sz="2000" b="1" u="sng">
                <a:solidFill>
                  <a:srgbClr val="BB2BBE"/>
                </a:solidFill>
                <a:latin typeface="BMS Humanity Light"/>
              </a:rPr>
              <a:t>Creating a Master Agreement</a:t>
            </a:r>
          </a:p>
          <a:p>
            <a:pPr marL="342900" indent="-342900">
              <a:spcBef>
                <a:spcPts val="1200"/>
              </a:spcBef>
              <a:buFont typeface="Arial"/>
              <a:buChar char="•"/>
              <a:defRPr/>
            </a:pPr>
            <a:endParaRPr lang="en-US" sz="2000" b="1" u="sng">
              <a:solidFill>
                <a:srgbClr val="BB2BBE"/>
              </a:solidFill>
              <a:latin typeface="BMS Humanity Light"/>
            </a:endParaRPr>
          </a:p>
        </p:txBody>
      </p:sp>
      <p:pic>
        <p:nvPicPr>
          <p:cNvPr id="8" name="Picture 7" descr="A picture containing graphical user interface&#10;&#10;Description automatically generated">
            <a:extLst>
              <a:ext uri="{FF2B5EF4-FFF2-40B4-BE49-F238E27FC236}">
                <a16:creationId xmlns:a16="http://schemas.microsoft.com/office/drawing/2014/main" id="{8F20D3C6-F218-4D2D-88F1-A13FF7E6A69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07169" y="-255291"/>
            <a:ext cx="2679697" cy="1741803"/>
          </a:xfrm>
          <a:prstGeom prst="rect">
            <a:avLst/>
          </a:prstGeom>
        </p:spPr>
      </p:pic>
    </p:spTree>
    <p:extLst>
      <p:ext uri="{BB962C8B-B14F-4D97-AF65-F5344CB8AC3E}">
        <p14:creationId xmlns:p14="http://schemas.microsoft.com/office/powerpoint/2010/main" val="45268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8.0 Signature Details</a:t>
            </a:r>
          </a:p>
        </p:txBody>
      </p:sp>
      <p:sp>
        <p:nvSpPr>
          <p:cNvPr id="5" name="TextBox 4">
            <a:extLst>
              <a:ext uri="{FF2B5EF4-FFF2-40B4-BE49-F238E27FC236}">
                <a16:creationId xmlns:a16="http://schemas.microsoft.com/office/drawing/2014/main" id="{540072E7-A4B6-9A39-C04D-78AA6249F659}"/>
              </a:ext>
            </a:extLst>
          </p:cNvPr>
          <p:cNvSpPr txBox="1"/>
          <p:nvPr/>
        </p:nvSpPr>
        <p:spPr>
          <a:xfrm>
            <a:off x="115093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5</a:t>
            </a:r>
          </a:p>
        </p:txBody>
      </p:sp>
      <p:graphicFrame>
        <p:nvGraphicFramePr>
          <p:cNvPr id="8" name="Table 7">
            <a:extLst>
              <a:ext uri="{FF2B5EF4-FFF2-40B4-BE49-F238E27FC236}">
                <a16:creationId xmlns:a16="http://schemas.microsoft.com/office/drawing/2014/main" id="{A0E88ACC-7BE3-F8F6-3762-ACF434134537}"/>
              </a:ext>
            </a:extLst>
          </p:cNvPr>
          <p:cNvGraphicFramePr>
            <a:graphicFrameLocks noGrp="1"/>
          </p:cNvGraphicFramePr>
          <p:nvPr>
            <p:extLst>
              <p:ext uri="{D42A27DB-BD31-4B8C-83A1-F6EECF244321}">
                <p14:modId xmlns:p14="http://schemas.microsoft.com/office/powerpoint/2010/main" val="3317635618"/>
              </p:ext>
            </p:extLst>
          </p:nvPr>
        </p:nvGraphicFramePr>
        <p:xfrm>
          <a:off x="474213" y="1307142"/>
          <a:ext cx="4996819" cy="4381030"/>
        </p:xfrm>
        <a:graphic>
          <a:graphicData uri="http://schemas.openxmlformats.org/drawingml/2006/table">
            <a:tbl>
              <a:tblPr firstRow="1" bandRow="1">
                <a:tableStyleId>{5C22544A-7EE6-4342-B048-85BDC9FD1C3A}</a:tableStyleId>
              </a:tblPr>
              <a:tblGrid>
                <a:gridCol w="2152332">
                  <a:extLst>
                    <a:ext uri="{9D8B030D-6E8A-4147-A177-3AD203B41FA5}">
                      <a16:colId xmlns:a16="http://schemas.microsoft.com/office/drawing/2014/main" val="667398442"/>
                    </a:ext>
                  </a:extLst>
                </a:gridCol>
                <a:gridCol w="2844487">
                  <a:extLst>
                    <a:ext uri="{9D8B030D-6E8A-4147-A177-3AD203B41FA5}">
                      <a16:colId xmlns:a16="http://schemas.microsoft.com/office/drawing/2014/main" val="3844006668"/>
                    </a:ext>
                  </a:extLst>
                </a:gridCol>
              </a:tblGrid>
              <a:tr h="676084">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extLst>
                  <a:ext uri="{0D108BD9-81ED-4DB2-BD59-A6C34878D82A}">
                    <a16:rowId xmlns:a16="http://schemas.microsoft.com/office/drawing/2014/main" val="2670478932"/>
                  </a:ext>
                </a:extLst>
              </a:tr>
              <a:tr h="865389">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Execution Date</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a:latin typeface="Trebuchet MS"/>
                        </a:rPr>
                        <a:t>Input Date</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93530750"/>
                  </a:ext>
                </a:extLst>
              </a:tr>
              <a:tr h="1000606">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Signature Sequence</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a:solidFill>
                            <a:srgbClr val="000000"/>
                          </a:solidFill>
                          <a:effectLst/>
                          <a:latin typeface="Trebuchet MS"/>
                        </a:rPr>
                        <a:t>Chose the primary sequence</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572662060"/>
                  </a:ext>
                </a:extLst>
              </a:tr>
              <a:tr h="973562">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Signature Type</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a:latin typeface="Trebuchet MS"/>
                        </a:rPr>
                        <a:t>Either manual or electronic</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537551584"/>
                  </a:ext>
                </a:extLst>
              </a:tr>
              <a:tr h="865389">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Adobe Add Signature Tags</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en-US" sz="1100" b="0" i="0" u="none" strike="noStrike" noProof="0">
                          <a:effectLst/>
                          <a:latin typeface="Trebuchet MS"/>
                        </a:rPr>
                        <a:t>Yes or No</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92266969"/>
                  </a:ext>
                </a:extLst>
              </a:tr>
            </a:tbl>
          </a:graphicData>
        </a:graphic>
      </p:graphicFrame>
      <p:pic>
        <p:nvPicPr>
          <p:cNvPr id="13" name="Graphic 12">
            <a:extLst>
              <a:ext uri="{FF2B5EF4-FFF2-40B4-BE49-F238E27FC236}">
                <a16:creationId xmlns:a16="http://schemas.microsoft.com/office/drawing/2014/main" id="{FDC61B82-0712-F914-B5A1-AEB0C02FF20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8" r="27686"/>
          <a:stretch/>
        </p:blipFill>
        <p:spPr>
          <a:xfrm>
            <a:off x="5038495" y="2274271"/>
            <a:ext cx="7158532" cy="4104737"/>
          </a:xfrm>
          <a:prstGeom prst="rect">
            <a:avLst/>
          </a:prstGeom>
        </p:spPr>
      </p:pic>
      <p:pic>
        <p:nvPicPr>
          <p:cNvPr id="3" name="Graphic 2">
            <a:extLst>
              <a:ext uri="{FF2B5EF4-FFF2-40B4-BE49-F238E27FC236}">
                <a16:creationId xmlns:a16="http://schemas.microsoft.com/office/drawing/2014/main" id="{8C07C2DF-DB61-AE03-6758-8267ED88546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0546"/>
          <a:stretch/>
        </p:blipFill>
        <p:spPr>
          <a:xfrm>
            <a:off x="8848796" y="538313"/>
            <a:ext cx="2197243" cy="1481001"/>
          </a:xfrm>
          <a:prstGeom prst="rect">
            <a:avLst/>
          </a:prstGeom>
        </p:spPr>
      </p:pic>
      <p:pic>
        <p:nvPicPr>
          <p:cNvPr id="2" name="Picture 3" descr="Graphical user interface, text, application, email&#10;&#10;Description automatically generated">
            <a:extLst>
              <a:ext uri="{FF2B5EF4-FFF2-40B4-BE49-F238E27FC236}">
                <a16:creationId xmlns:a16="http://schemas.microsoft.com/office/drawing/2014/main" id="{8293D778-33C3-A7D9-133F-F6D378F53A09}"/>
              </a:ext>
            </a:extLst>
          </p:cNvPr>
          <p:cNvPicPr>
            <a:picLocks noChangeAspect="1"/>
          </p:cNvPicPr>
          <p:nvPr/>
        </p:nvPicPr>
        <p:blipFill>
          <a:blip r:embed="rId7"/>
          <a:stretch>
            <a:fillRect/>
          </a:stretch>
        </p:blipFill>
        <p:spPr>
          <a:xfrm>
            <a:off x="5861354" y="2503891"/>
            <a:ext cx="5367865" cy="3047647"/>
          </a:xfrm>
          <a:prstGeom prst="rect">
            <a:avLst/>
          </a:prstGeom>
        </p:spPr>
      </p:pic>
    </p:spTree>
    <p:extLst>
      <p:ext uri="{BB962C8B-B14F-4D97-AF65-F5344CB8AC3E}">
        <p14:creationId xmlns:p14="http://schemas.microsoft.com/office/powerpoint/2010/main" val="28922091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486E26-45A1-4F65-D924-1A500D3E1615}"/>
              </a:ext>
            </a:extLst>
          </p:cNvPr>
          <p:cNvSpPr/>
          <p:nvPr/>
        </p:nvSpPr>
        <p:spPr>
          <a:xfrm>
            <a:off x="0" y="792"/>
            <a:ext cx="12192000" cy="861382"/>
          </a:xfrm>
          <a:prstGeom prst="rect">
            <a:avLst/>
          </a:prstGeom>
          <a:solidFill>
            <a:srgbClr val="EEE7E7"/>
          </a:solidFill>
          <a:ln>
            <a:noFill/>
          </a:ln>
        </p:spPr>
        <p:style>
          <a:lnRef idx="0">
            <a:schemeClr val="accent1"/>
          </a:lnRef>
          <a:fillRef idx="1">
            <a:schemeClr val="accent1"/>
          </a:fillRef>
          <a:effectRef idx="0">
            <a:srgbClr val="000000"/>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rebuchet MS"/>
              <a:ea typeface="+mn-ea"/>
              <a:cs typeface="+mn-cs"/>
            </a:endParaRPr>
          </a:p>
        </p:txBody>
      </p:sp>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51284"/>
            <a:ext cx="3755814" cy="37011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595454"/>
                </a:solidFill>
                <a:effectLst/>
                <a:uLnTx/>
                <a:uFillTx/>
                <a:latin typeface="Trebuchet MS"/>
                <a:ea typeface="+mj-ea"/>
                <a:cs typeface="+mj-cs"/>
              </a:rPr>
              <a:t>Contract Searches</a:t>
            </a:r>
          </a:p>
        </p:txBody>
      </p:sp>
      <p:sp>
        <p:nvSpPr>
          <p:cNvPr id="6" name="TextBox 5">
            <a:extLst>
              <a:ext uri="{FF2B5EF4-FFF2-40B4-BE49-F238E27FC236}">
                <a16:creationId xmlns:a16="http://schemas.microsoft.com/office/drawing/2014/main" id="{68445E3D-5505-E8D6-01C9-C6FD92033FC5}"/>
              </a:ext>
            </a:extLst>
          </p:cNvPr>
          <p:cNvSpPr txBox="1"/>
          <p:nvPr/>
        </p:nvSpPr>
        <p:spPr>
          <a:xfrm>
            <a:off x="365760" y="1137061"/>
            <a:ext cx="3496554" cy="584775"/>
          </a:xfrm>
          <a:prstGeom prst="rect">
            <a:avLst/>
          </a:prstGeom>
          <a:noFill/>
        </p:spPr>
        <p:txBody>
          <a:bodyPr wrap="square" lIns="91440" tIns="45720" rIns="91440" bIns="45720" rtlCol="0" anchor="t">
            <a:spAutoFit/>
          </a:bodyPr>
          <a:lstStyle/>
          <a:p>
            <a:r>
              <a:rPr lang="en-US" b="1"/>
              <a:t>How to Navigate to Search:</a:t>
            </a:r>
          </a:p>
          <a:p>
            <a:r>
              <a:rPr lang="en-US" sz="1400"/>
              <a:t>Agreement Management -&gt; Agreements</a:t>
            </a:r>
            <a:endParaRPr lang="en-US" sz="1400">
              <a:cs typeface="Calibri"/>
            </a:endParaRPr>
          </a:p>
        </p:txBody>
      </p:sp>
      <p:sp>
        <p:nvSpPr>
          <p:cNvPr id="14" name="TextBox 13">
            <a:extLst>
              <a:ext uri="{FF2B5EF4-FFF2-40B4-BE49-F238E27FC236}">
                <a16:creationId xmlns:a16="http://schemas.microsoft.com/office/drawing/2014/main" id="{52F0C325-8A11-2F5D-867E-7417CE9F9C7E}"/>
              </a:ext>
            </a:extLst>
          </p:cNvPr>
          <p:cNvSpPr txBox="1"/>
          <p:nvPr/>
        </p:nvSpPr>
        <p:spPr>
          <a:xfrm>
            <a:off x="263488" y="425451"/>
            <a:ext cx="2303381" cy="307777"/>
          </a:xfrm>
          <a:prstGeom prst="rect">
            <a:avLst/>
          </a:prstGeom>
          <a:noFill/>
        </p:spPr>
        <p:txBody>
          <a:bodyPr wrap="square" lIns="91440" tIns="45720" rIns="91440" bIns="45720" rtlCol="0" anchor="t">
            <a:spAutoFit/>
          </a:bodyPr>
          <a:lstStyle/>
          <a:p>
            <a:r>
              <a:rPr lang="en-US" sz="1400" i="0" u="none" strike="noStrike" kern="1200">
                <a:solidFill>
                  <a:srgbClr val="000000"/>
                </a:solidFill>
                <a:effectLst/>
                <a:latin typeface="Trebuchet MS"/>
                <a:cs typeface="Calibri"/>
              </a:rPr>
              <a:t>Useful Searches:</a:t>
            </a:r>
            <a:endParaRPr lang="en-US" sz="1400" i="0" u="none" strike="noStrike">
              <a:effectLst/>
              <a:latin typeface="Trebuchet MS"/>
              <a:cs typeface="Calibri"/>
            </a:endParaRPr>
          </a:p>
        </p:txBody>
      </p:sp>
      <p:grpSp>
        <p:nvGrpSpPr>
          <p:cNvPr id="24" name="Group 23">
            <a:extLst>
              <a:ext uri="{FF2B5EF4-FFF2-40B4-BE49-F238E27FC236}">
                <a16:creationId xmlns:a16="http://schemas.microsoft.com/office/drawing/2014/main" id="{C47CBEE5-8A0D-1994-61AE-74C3D1ABE124}"/>
              </a:ext>
            </a:extLst>
          </p:cNvPr>
          <p:cNvGrpSpPr/>
          <p:nvPr/>
        </p:nvGrpSpPr>
        <p:grpSpPr>
          <a:xfrm>
            <a:off x="4616231" y="1131286"/>
            <a:ext cx="2507006" cy="4194748"/>
            <a:chOff x="5102745" y="1354719"/>
            <a:chExt cx="2507006" cy="4194748"/>
          </a:xfrm>
        </p:grpSpPr>
        <p:pic>
          <p:nvPicPr>
            <p:cNvPr id="12" name="Picture 11">
              <a:extLst>
                <a:ext uri="{FF2B5EF4-FFF2-40B4-BE49-F238E27FC236}">
                  <a16:creationId xmlns:a16="http://schemas.microsoft.com/office/drawing/2014/main" id="{5EA9F462-AA62-5756-C31D-E46DD5D7CF36}"/>
                </a:ext>
              </a:extLst>
            </p:cNvPr>
            <p:cNvPicPr>
              <a:picLocks noChangeAspect="1"/>
            </p:cNvPicPr>
            <p:nvPr/>
          </p:nvPicPr>
          <p:blipFill>
            <a:blip r:embed="rId3"/>
            <a:stretch>
              <a:fillRect/>
            </a:stretch>
          </p:blipFill>
          <p:spPr>
            <a:xfrm>
              <a:off x="5342781" y="1997724"/>
              <a:ext cx="2015961" cy="3551743"/>
            </a:xfrm>
            <a:prstGeom prst="rect">
              <a:avLst/>
            </a:prstGeom>
            <a:ln w="28575">
              <a:solidFill>
                <a:srgbClr val="BB2BBE"/>
              </a:solidFill>
            </a:ln>
          </p:spPr>
        </p:pic>
        <p:sp>
          <p:nvSpPr>
            <p:cNvPr id="23" name="TextBox 22">
              <a:extLst>
                <a:ext uri="{FF2B5EF4-FFF2-40B4-BE49-F238E27FC236}">
                  <a16:creationId xmlns:a16="http://schemas.microsoft.com/office/drawing/2014/main" id="{E8A422A1-81C9-1834-5E5B-C21C08FBBBF5}"/>
                </a:ext>
              </a:extLst>
            </p:cNvPr>
            <p:cNvSpPr txBox="1"/>
            <p:nvPr/>
          </p:nvSpPr>
          <p:spPr>
            <a:xfrm>
              <a:off x="5102745" y="1354719"/>
              <a:ext cx="2507006" cy="523220"/>
            </a:xfrm>
            <a:prstGeom prst="rect">
              <a:avLst/>
            </a:prstGeom>
            <a:noFill/>
          </p:spPr>
          <p:txBody>
            <a:bodyPr wrap="square" lIns="91440" tIns="45720" rIns="91440" bIns="45720" anchor="t">
              <a:spAutoFit/>
            </a:bodyPr>
            <a:lstStyle/>
            <a:p>
              <a:pPr algn="ctr" rtl="0" eaLnBrk="1" fontAlgn="t" latinLnBrk="0" hangingPunct="1">
                <a:spcBef>
                  <a:spcPts val="0"/>
                </a:spcBef>
                <a:spcAft>
                  <a:spcPts val="0"/>
                </a:spcAft>
              </a:pPr>
              <a:r>
                <a:rPr lang="en-US" sz="1400" b="0" i="0" u="none" strike="noStrike" kern="1200">
                  <a:solidFill>
                    <a:srgbClr val="000000"/>
                  </a:solidFill>
                  <a:effectLst/>
                  <a:latin typeface="Calibri"/>
                  <a:cs typeface="Calibri"/>
                </a:rPr>
                <a:t>Filter &gt; Categories &gt; Select External Party</a:t>
              </a:r>
            </a:p>
          </p:txBody>
        </p:sp>
      </p:grpSp>
      <p:grpSp>
        <p:nvGrpSpPr>
          <p:cNvPr id="31" name="Group 30">
            <a:extLst>
              <a:ext uri="{FF2B5EF4-FFF2-40B4-BE49-F238E27FC236}">
                <a16:creationId xmlns:a16="http://schemas.microsoft.com/office/drawing/2014/main" id="{0D5A6DCD-B972-1739-4303-440AAB75E56F}"/>
              </a:ext>
            </a:extLst>
          </p:cNvPr>
          <p:cNvGrpSpPr/>
          <p:nvPr/>
        </p:nvGrpSpPr>
        <p:grpSpPr>
          <a:xfrm>
            <a:off x="8424412" y="1172853"/>
            <a:ext cx="2406114" cy="4154540"/>
            <a:chOff x="5666698" y="1088186"/>
            <a:chExt cx="2406114" cy="4154540"/>
          </a:xfrm>
        </p:grpSpPr>
        <p:sp>
          <p:nvSpPr>
            <p:cNvPr id="17" name="TextBox 16">
              <a:extLst>
                <a:ext uri="{FF2B5EF4-FFF2-40B4-BE49-F238E27FC236}">
                  <a16:creationId xmlns:a16="http://schemas.microsoft.com/office/drawing/2014/main" id="{E8792795-6047-B502-E2AE-3664479636C9}"/>
                </a:ext>
              </a:extLst>
            </p:cNvPr>
            <p:cNvSpPr txBox="1"/>
            <p:nvPr/>
          </p:nvSpPr>
          <p:spPr>
            <a:xfrm>
              <a:off x="5666698" y="1088186"/>
              <a:ext cx="2368660" cy="523220"/>
            </a:xfrm>
            <a:prstGeom prst="rect">
              <a:avLst/>
            </a:prstGeom>
            <a:noFill/>
          </p:spPr>
          <p:txBody>
            <a:bodyPr wrap="square" lIns="91440" tIns="45720" rIns="91440" bIns="45720" anchor="t">
              <a:spAutoFit/>
            </a:bodyPr>
            <a:lstStyle/>
            <a:p>
              <a:pPr algn="ctr" rtl="0" eaLnBrk="1" fontAlgn="t" latinLnBrk="0" hangingPunct="1">
                <a:spcBef>
                  <a:spcPts val="0"/>
                </a:spcBef>
                <a:spcAft>
                  <a:spcPts val="0"/>
                </a:spcAft>
              </a:pPr>
              <a:r>
                <a:rPr lang="en-US" sz="1400" b="0" i="0" u="none" strike="noStrike" kern="1200">
                  <a:solidFill>
                    <a:srgbClr val="000000"/>
                  </a:solidFill>
                  <a:effectLst/>
                  <a:latin typeface="Calibri"/>
                  <a:cs typeface="Calibri"/>
                </a:rPr>
                <a:t>Filter &gt; Categories &gt; Select Category Tier 1</a:t>
              </a:r>
            </a:p>
          </p:txBody>
        </p:sp>
        <p:pic>
          <p:nvPicPr>
            <p:cNvPr id="26" name="Picture 25">
              <a:extLst>
                <a:ext uri="{FF2B5EF4-FFF2-40B4-BE49-F238E27FC236}">
                  <a16:creationId xmlns:a16="http://schemas.microsoft.com/office/drawing/2014/main" id="{002FF1D5-D71C-D579-205D-3ECC47DD9E27}"/>
                </a:ext>
              </a:extLst>
            </p:cNvPr>
            <p:cNvPicPr>
              <a:picLocks noChangeAspect="1"/>
            </p:cNvPicPr>
            <p:nvPr/>
          </p:nvPicPr>
          <p:blipFill>
            <a:blip r:embed="rId4"/>
            <a:stretch>
              <a:fillRect/>
            </a:stretch>
          </p:blipFill>
          <p:spPr>
            <a:xfrm>
              <a:off x="5951215" y="1691358"/>
              <a:ext cx="2121597" cy="3551368"/>
            </a:xfrm>
            <a:prstGeom prst="rect">
              <a:avLst/>
            </a:prstGeom>
            <a:ln w="28575">
              <a:solidFill>
                <a:srgbClr val="BB2BBE"/>
              </a:solidFill>
            </a:ln>
          </p:spPr>
        </p:pic>
      </p:grpSp>
      <p:pic>
        <p:nvPicPr>
          <p:cNvPr id="34" name="Picture 33">
            <a:extLst>
              <a:ext uri="{FF2B5EF4-FFF2-40B4-BE49-F238E27FC236}">
                <a16:creationId xmlns:a16="http://schemas.microsoft.com/office/drawing/2014/main" id="{190AEAC9-8CA7-4384-BBE3-6BE677A009B2}"/>
              </a:ext>
            </a:extLst>
          </p:cNvPr>
          <p:cNvPicPr>
            <a:picLocks noChangeAspect="1"/>
          </p:cNvPicPr>
          <p:nvPr/>
        </p:nvPicPr>
        <p:blipFill>
          <a:blip r:embed="rId5"/>
          <a:stretch>
            <a:fillRect/>
          </a:stretch>
        </p:blipFill>
        <p:spPr>
          <a:xfrm>
            <a:off x="498219" y="1843242"/>
            <a:ext cx="2807049" cy="1753477"/>
          </a:xfrm>
          <a:prstGeom prst="rect">
            <a:avLst/>
          </a:prstGeom>
          <a:ln w="28575">
            <a:solidFill>
              <a:srgbClr val="BB2BBE"/>
            </a:solidFill>
          </a:ln>
        </p:spPr>
      </p:pic>
      <p:sp>
        <p:nvSpPr>
          <p:cNvPr id="3" name="TextBox 2">
            <a:extLst>
              <a:ext uri="{FF2B5EF4-FFF2-40B4-BE49-F238E27FC236}">
                <a16:creationId xmlns:a16="http://schemas.microsoft.com/office/drawing/2014/main" id="{79352706-A692-0097-5679-0FA13DB3B3E4}"/>
              </a:ext>
            </a:extLst>
          </p:cNvPr>
          <p:cNvSpPr txBox="1"/>
          <p:nvPr/>
        </p:nvSpPr>
        <p:spPr>
          <a:xfrm>
            <a:off x="11493501" y="6361111"/>
            <a:ext cx="415924"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12</a:t>
            </a:r>
          </a:p>
        </p:txBody>
      </p:sp>
    </p:spTree>
    <p:extLst>
      <p:ext uri="{BB962C8B-B14F-4D97-AF65-F5344CB8AC3E}">
        <p14:creationId xmlns:p14="http://schemas.microsoft.com/office/powerpoint/2010/main" val="2854406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F0E512-2A17-2E3F-9495-CC6BCCDF12B9}"/>
              </a:ext>
            </a:extLst>
          </p:cNvPr>
          <p:cNvSpPr/>
          <p:nvPr/>
        </p:nvSpPr>
        <p:spPr>
          <a:xfrm>
            <a:off x="0" y="792"/>
            <a:ext cx="12192000" cy="861382"/>
          </a:xfrm>
          <a:prstGeom prst="rect">
            <a:avLst/>
          </a:prstGeom>
          <a:solidFill>
            <a:srgbClr val="EEE7E7"/>
          </a:solidFill>
          <a:ln>
            <a:noFill/>
          </a:ln>
        </p:spPr>
        <p:style>
          <a:lnRef idx="0">
            <a:schemeClr val="accent1"/>
          </a:lnRef>
          <a:fillRef idx="1">
            <a:schemeClr val="accent1"/>
          </a:fillRef>
          <a:effectRef idx="0">
            <a:srgbClr val="000000"/>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Trebuchet MS"/>
              <a:ea typeface="+mn-ea"/>
              <a:cs typeface="+mn-cs"/>
            </a:endParaRPr>
          </a:p>
        </p:txBody>
      </p:sp>
      <p:sp>
        <p:nvSpPr>
          <p:cNvPr id="9" name="Title 1">
            <a:extLst>
              <a:ext uri="{FF2B5EF4-FFF2-40B4-BE49-F238E27FC236}">
                <a16:creationId xmlns:a16="http://schemas.microsoft.com/office/drawing/2014/main" id="{43AB19C9-D5C3-4F76-978A-A55F70609C4A}"/>
              </a:ext>
            </a:extLst>
          </p:cNvPr>
          <p:cNvSpPr txBox="1">
            <a:spLocks/>
          </p:cNvSpPr>
          <p:nvPr/>
        </p:nvSpPr>
        <p:spPr>
          <a:xfrm>
            <a:off x="305284" y="51284"/>
            <a:ext cx="3441338" cy="37011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595454"/>
                </a:solidFill>
                <a:effectLst/>
                <a:uLnTx/>
                <a:uFillTx/>
                <a:latin typeface="Trebuchet MS"/>
                <a:ea typeface="+mj-ea"/>
                <a:cs typeface="+mj-cs"/>
              </a:rPr>
              <a:t>Contract Searches</a:t>
            </a:r>
          </a:p>
        </p:txBody>
      </p:sp>
      <p:sp>
        <p:nvSpPr>
          <p:cNvPr id="14" name="TextBox 13">
            <a:extLst>
              <a:ext uri="{FF2B5EF4-FFF2-40B4-BE49-F238E27FC236}">
                <a16:creationId xmlns:a16="http://schemas.microsoft.com/office/drawing/2014/main" id="{52F0C325-8A11-2F5D-867E-7417CE9F9C7E}"/>
              </a:ext>
            </a:extLst>
          </p:cNvPr>
          <p:cNvSpPr txBox="1"/>
          <p:nvPr/>
        </p:nvSpPr>
        <p:spPr>
          <a:xfrm>
            <a:off x="215107" y="425451"/>
            <a:ext cx="2303381" cy="307777"/>
          </a:xfrm>
          <a:prstGeom prst="rect">
            <a:avLst/>
          </a:prstGeom>
          <a:noFill/>
        </p:spPr>
        <p:txBody>
          <a:bodyPr wrap="square" lIns="91440" tIns="45720" rIns="91440" bIns="45720" rtlCol="0" anchor="t">
            <a:spAutoFit/>
          </a:bodyPr>
          <a:lstStyle/>
          <a:p>
            <a:r>
              <a:rPr lang="en-US" sz="1400" i="0" u="none" strike="noStrike" kern="1200">
                <a:solidFill>
                  <a:srgbClr val="000000"/>
                </a:solidFill>
                <a:effectLst/>
                <a:latin typeface="Trebuchet MS"/>
              </a:rPr>
              <a:t>Useful Searches:</a:t>
            </a:r>
            <a:endParaRPr lang="en-US" sz="1400" i="0" u="none" strike="noStrike">
              <a:effectLst/>
              <a:latin typeface="Trebuchet MS"/>
            </a:endParaRPr>
          </a:p>
        </p:txBody>
      </p:sp>
      <p:sp>
        <p:nvSpPr>
          <p:cNvPr id="21" name="TextBox 20">
            <a:extLst>
              <a:ext uri="{FF2B5EF4-FFF2-40B4-BE49-F238E27FC236}">
                <a16:creationId xmlns:a16="http://schemas.microsoft.com/office/drawing/2014/main" id="{7648A35F-3905-A447-774F-DAAADD279BB1}"/>
              </a:ext>
            </a:extLst>
          </p:cNvPr>
          <p:cNvSpPr txBox="1"/>
          <p:nvPr/>
        </p:nvSpPr>
        <p:spPr>
          <a:xfrm>
            <a:off x="6190116" y="1180692"/>
            <a:ext cx="3093720" cy="646331"/>
          </a:xfrm>
          <a:prstGeom prst="rect">
            <a:avLst/>
          </a:prstGeom>
          <a:noFill/>
        </p:spPr>
        <p:txBody>
          <a:bodyPr wrap="square">
            <a:spAutoFit/>
          </a:bodyPr>
          <a:lstStyle/>
          <a:p>
            <a:pPr algn="l" rtl="0" eaLnBrk="1" fontAlgn="t"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Filter &gt; Categories &gt; Select Agreement Code (Icertis Code)</a:t>
            </a:r>
          </a:p>
        </p:txBody>
      </p:sp>
      <p:grpSp>
        <p:nvGrpSpPr>
          <p:cNvPr id="32" name="Group 31">
            <a:extLst>
              <a:ext uri="{FF2B5EF4-FFF2-40B4-BE49-F238E27FC236}">
                <a16:creationId xmlns:a16="http://schemas.microsoft.com/office/drawing/2014/main" id="{AF1FA191-9024-E058-CEDB-D1B6D54DA7EC}"/>
              </a:ext>
            </a:extLst>
          </p:cNvPr>
          <p:cNvGrpSpPr/>
          <p:nvPr/>
        </p:nvGrpSpPr>
        <p:grpSpPr>
          <a:xfrm>
            <a:off x="2178187" y="1313981"/>
            <a:ext cx="2682242" cy="4222960"/>
            <a:chOff x="9304664" y="1353389"/>
            <a:chExt cx="2682242" cy="4222960"/>
          </a:xfrm>
        </p:grpSpPr>
        <p:sp>
          <p:nvSpPr>
            <p:cNvPr id="19" name="TextBox 18">
              <a:extLst>
                <a:ext uri="{FF2B5EF4-FFF2-40B4-BE49-F238E27FC236}">
                  <a16:creationId xmlns:a16="http://schemas.microsoft.com/office/drawing/2014/main" id="{144EEAC1-868F-1FA2-B594-BA0C796E3F83}"/>
                </a:ext>
              </a:extLst>
            </p:cNvPr>
            <p:cNvSpPr txBox="1"/>
            <p:nvPr/>
          </p:nvSpPr>
          <p:spPr>
            <a:xfrm>
              <a:off x="9304664" y="1353389"/>
              <a:ext cx="2682242" cy="646331"/>
            </a:xfrm>
            <a:prstGeom prst="rect">
              <a:avLst/>
            </a:prstGeom>
            <a:noFill/>
          </p:spPr>
          <p:txBody>
            <a:bodyPr wrap="square">
              <a:spAutoFit/>
            </a:bodyPr>
            <a:lstStyle/>
            <a:p>
              <a:pPr algn="ctr" rtl="0" eaLnBrk="1" fontAlgn="t"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Filter &gt; Categories &gt; Select Legacy ID (Ariba CW</a:t>
              </a:r>
              <a:r>
                <a:rPr lang="en-US">
                  <a:solidFill>
                    <a:srgbClr val="000000"/>
                  </a:solidFill>
                  <a:latin typeface="Calibri" panose="020F0502020204030204" pitchFamily="34" charset="0"/>
                </a:rPr>
                <a:t>)</a:t>
              </a:r>
              <a:endParaRPr lang="en-US" sz="1800" b="0" i="0" u="none" strike="noStrike" kern="1200">
                <a:solidFill>
                  <a:srgbClr val="000000"/>
                </a:solidFill>
                <a:effectLst/>
                <a:latin typeface="Calibri" panose="020F0502020204030204" pitchFamily="34" charset="0"/>
              </a:endParaRPr>
            </a:p>
          </p:txBody>
        </p:sp>
        <p:pic>
          <p:nvPicPr>
            <p:cNvPr id="28" name="Picture 27">
              <a:extLst>
                <a:ext uri="{FF2B5EF4-FFF2-40B4-BE49-F238E27FC236}">
                  <a16:creationId xmlns:a16="http://schemas.microsoft.com/office/drawing/2014/main" id="{26BCE02F-0DBE-EF2C-96B9-F37FE5F5C878}"/>
                </a:ext>
              </a:extLst>
            </p:cNvPr>
            <p:cNvPicPr>
              <a:picLocks noChangeAspect="1"/>
            </p:cNvPicPr>
            <p:nvPr/>
          </p:nvPicPr>
          <p:blipFill>
            <a:blip r:embed="rId3"/>
            <a:stretch>
              <a:fillRect/>
            </a:stretch>
          </p:blipFill>
          <p:spPr>
            <a:xfrm>
              <a:off x="9584987" y="1976833"/>
              <a:ext cx="2121597" cy="3599516"/>
            </a:xfrm>
            <a:prstGeom prst="rect">
              <a:avLst/>
            </a:prstGeom>
            <a:ln w="28575">
              <a:solidFill>
                <a:srgbClr val="BB2BBE"/>
              </a:solidFill>
            </a:ln>
          </p:spPr>
        </p:pic>
      </p:grpSp>
      <p:pic>
        <p:nvPicPr>
          <p:cNvPr id="30" name="Picture 29">
            <a:extLst>
              <a:ext uri="{FF2B5EF4-FFF2-40B4-BE49-F238E27FC236}">
                <a16:creationId xmlns:a16="http://schemas.microsoft.com/office/drawing/2014/main" id="{6E464430-D686-7CD2-58AB-8D065669666B}"/>
              </a:ext>
            </a:extLst>
          </p:cNvPr>
          <p:cNvPicPr>
            <a:picLocks noChangeAspect="1"/>
          </p:cNvPicPr>
          <p:nvPr/>
        </p:nvPicPr>
        <p:blipFill>
          <a:blip r:embed="rId4"/>
          <a:stretch>
            <a:fillRect/>
          </a:stretch>
        </p:blipFill>
        <p:spPr>
          <a:xfrm>
            <a:off x="6544900" y="1921267"/>
            <a:ext cx="2124042" cy="3622524"/>
          </a:xfrm>
          <a:prstGeom prst="rect">
            <a:avLst/>
          </a:prstGeom>
          <a:solidFill>
            <a:srgbClr val="FFFFFF">
              <a:shade val="85000"/>
            </a:srgbClr>
          </a:solidFill>
          <a:ln w="6350" cap="sq">
            <a:solidFill>
              <a:srgbClr val="BB2BBE"/>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79352706-A692-0097-5679-0FA13DB3B3E4}"/>
              </a:ext>
            </a:extLst>
          </p:cNvPr>
          <p:cNvSpPr txBox="1"/>
          <p:nvPr/>
        </p:nvSpPr>
        <p:spPr>
          <a:xfrm>
            <a:off x="11493501" y="6361111"/>
            <a:ext cx="415924"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12</a:t>
            </a:r>
          </a:p>
        </p:txBody>
      </p:sp>
    </p:spTree>
    <p:extLst>
      <p:ext uri="{BB962C8B-B14F-4D97-AF65-F5344CB8AC3E}">
        <p14:creationId xmlns:p14="http://schemas.microsoft.com/office/powerpoint/2010/main" val="994556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69CB2100-137C-4779-AB90-7427C4A33A74}"/>
              </a:ext>
            </a:extLst>
          </p:cNvPr>
          <p:cNvGraphicFramePr>
            <a:graphicFrameLocks noGrp="1"/>
          </p:cNvGraphicFramePr>
          <p:nvPr>
            <p:extLst>
              <p:ext uri="{D42A27DB-BD31-4B8C-83A1-F6EECF244321}">
                <p14:modId xmlns:p14="http://schemas.microsoft.com/office/powerpoint/2010/main" val="2850343736"/>
              </p:ext>
            </p:extLst>
          </p:nvPr>
        </p:nvGraphicFramePr>
        <p:xfrm>
          <a:off x="343140" y="1062726"/>
          <a:ext cx="5145617" cy="3619384"/>
        </p:xfrm>
        <a:graphic>
          <a:graphicData uri="http://schemas.openxmlformats.org/drawingml/2006/table">
            <a:tbl>
              <a:tblPr firstRow="1" bandRow="1">
                <a:tableStyleId>{5C22544A-7EE6-4342-B048-85BDC9FD1C3A}</a:tableStyleId>
              </a:tblPr>
              <a:tblGrid>
                <a:gridCol w="2205114">
                  <a:extLst>
                    <a:ext uri="{9D8B030D-6E8A-4147-A177-3AD203B41FA5}">
                      <a16:colId xmlns:a16="http://schemas.microsoft.com/office/drawing/2014/main" val="667398442"/>
                    </a:ext>
                  </a:extLst>
                </a:gridCol>
                <a:gridCol w="2940503">
                  <a:extLst>
                    <a:ext uri="{9D8B030D-6E8A-4147-A177-3AD203B41FA5}">
                      <a16:colId xmlns:a16="http://schemas.microsoft.com/office/drawing/2014/main" val="3844006668"/>
                    </a:ext>
                  </a:extLst>
                </a:gridCol>
              </a:tblGrid>
              <a:tr h="466132">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solidFill>
                      <a:srgbClr val="A69F9F"/>
                    </a:solidFill>
                  </a:tcPr>
                </a:tc>
                <a:extLst>
                  <a:ext uri="{0D108BD9-81ED-4DB2-BD59-A6C34878D82A}">
                    <a16:rowId xmlns:a16="http://schemas.microsoft.com/office/drawing/2014/main" val="2670478932"/>
                  </a:ext>
                </a:extLst>
              </a:tr>
              <a:tr h="466132">
                <a:tc>
                  <a:txBody>
                    <a:bodyPr/>
                    <a:lstStyle/>
                    <a:p>
                      <a:pPr algn="ctr" fontAlgn="t"/>
                      <a:r>
                        <a:rPr lang="en-US" sz="1200" b="1" i="0" u="none" strike="noStrike">
                          <a:solidFill>
                            <a:srgbClr val="BB2BBE"/>
                          </a:solidFill>
                          <a:effectLst/>
                          <a:latin typeface="Trebuchet MS"/>
                        </a:rPr>
                        <a:t>Icertis Agreement Code</a:t>
                      </a:r>
                    </a:p>
                  </a:txBody>
                  <a:tcPr marL="6350" marR="6350" marT="6350" marB="0" anchor="ctr">
                    <a:solidFill>
                      <a:srgbClr val="EEE7E7"/>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Trebuchet MS"/>
                        </a:rPr>
                        <a:t>Autogenerated field</a:t>
                      </a:r>
                    </a:p>
                  </a:txBody>
                  <a:tcPr marL="6350" marR="6350" marT="6350" marB="0" anchor="ctr">
                    <a:solidFill>
                      <a:srgbClr val="EEE7E7"/>
                    </a:solidFill>
                  </a:tcPr>
                </a:tc>
                <a:extLst>
                  <a:ext uri="{0D108BD9-81ED-4DB2-BD59-A6C34878D82A}">
                    <a16:rowId xmlns:a16="http://schemas.microsoft.com/office/drawing/2014/main" val="628734250"/>
                  </a:ext>
                </a:extLst>
              </a:tr>
              <a:tr h="438714">
                <a:tc>
                  <a:txBody>
                    <a:bodyPr/>
                    <a:lstStyle/>
                    <a:p>
                      <a:pPr lvl="0" algn="ctr">
                        <a:buNone/>
                      </a:pPr>
                      <a:r>
                        <a:rPr lang="en-US" sz="1200" b="1" i="0" u="none" strike="noStrike" noProof="0">
                          <a:solidFill>
                            <a:srgbClr val="BB2BBE"/>
                          </a:solidFill>
                          <a:effectLst/>
                          <a:latin typeface="Trebuchet MS"/>
                        </a:rPr>
                        <a:t>Agreement Name</a:t>
                      </a:r>
                      <a:endParaRPr lang="en-US" sz="1200" b="1" i="0" u="none" strike="noStrike">
                        <a:solidFill>
                          <a:srgbClr val="BB2BBE"/>
                        </a:solidFill>
                        <a:effectLst/>
                        <a:latin typeface="Trebuchet MS"/>
                      </a:endParaRPr>
                    </a:p>
                  </a:txBody>
                  <a:tcPr marL="6350" marR="6350" marT="6350" marB="0" anchor="ctr">
                    <a:noFill/>
                  </a:tcPr>
                </a:tc>
                <a:tc>
                  <a:txBody>
                    <a:bodyPr/>
                    <a:lstStyle/>
                    <a:p>
                      <a:pPr algn="ctr" fontAlgn="t"/>
                      <a:r>
                        <a:rPr lang="en-US" sz="1100" b="0" i="0" u="none" strike="noStrike">
                          <a:solidFill>
                            <a:srgbClr val="000000"/>
                          </a:solidFill>
                          <a:effectLst/>
                          <a:latin typeface="Trebuchet MS"/>
                        </a:rPr>
                        <a:t>Purchasing Agreement or Confidentiality Agreement</a:t>
                      </a:r>
                    </a:p>
                  </a:txBody>
                  <a:tcPr marL="6350" marR="6350" marT="6350" marB="0" anchor="ctr">
                    <a:noFill/>
                  </a:tcPr>
                </a:tc>
                <a:extLst>
                  <a:ext uri="{0D108BD9-81ED-4DB2-BD59-A6C34878D82A}">
                    <a16:rowId xmlns:a16="http://schemas.microsoft.com/office/drawing/2014/main" val="1465589841"/>
                  </a:ext>
                </a:extLst>
              </a:tr>
              <a:tr h="438714">
                <a:tc>
                  <a:txBody>
                    <a:bodyPr/>
                    <a:lstStyle/>
                    <a:p>
                      <a:pPr algn="ctr" fontAlgn="t"/>
                      <a:r>
                        <a:rPr lang="en-US" sz="1200" b="1" i="0" u="none" strike="noStrike">
                          <a:solidFill>
                            <a:srgbClr val="BB2BBE"/>
                          </a:solidFill>
                          <a:effectLst/>
                          <a:latin typeface="Trebuchet MS"/>
                        </a:rPr>
                        <a:t>Brief Description of Purpose</a:t>
                      </a:r>
                    </a:p>
                  </a:txBody>
                  <a:tcPr marL="6350" marR="6350" marT="6350" marB="0" anchor="ctr">
                    <a:solidFill>
                      <a:srgbClr val="EEE7E7"/>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Trebuchet MS"/>
                        </a:rPr>
                        <a:t>State the reason for the agreement</a:t>
                      </a:r>
                    </a:p>
                  </a:txBody>
                  <a:tcPr marL="6350" marR="6350" marT="6350" marB="0" anchor="ctr">
                    <a:solidFill>
                      <a:srgbClr val="EEE7E7"/>
                    </a:solidFill>
                  </a:tcPr>
                </a:tc>
                <a:extLst>
                  <a:ext uri="{0D108BD9-81ED-4DB2-BD59-A6C34878D82A}">
                    <a16:rowId xmlns:a16="http://schemas.microsoft.com/office/drawing/2014/main" val="293530750"/>
                  </a:ext>
                </a:extLst>
              </a:tr>
              <a:tr h="630650">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Select Sub-Category (Tier 2)</a:t>
                      </a:r>
                      <a:endParaRPr lang="en-US" b="1">
                        <a:solidFill>
                          <a:srgbClr val="BB2BBE"/>
                        </a:solidFill>
                        <a:latin typeface="Trebuchet MS"/>
                      </a:endParaRPr>
                    </a:p>
                  </a:txBody>
                  <a:tcPr marL="6350" marR="6350" marT="6350" marB="0" anchor="ctr">
                    <a:noFill/>
                  </a:tcPr>
                </a:tc>
                <a:tc>
                  <a:txBody>
                    <a:bodyPr/>
                    <a:lstStyle/>
                    <a:p>
                      <a:pPr lvl="0" algn="ctr">
                        <a:buNone/>
                      </a:pPr>
                      <a:r>
                        <a:rPr lang="en-US" sz="1100" b="0" i="0" u="none" strike="noStrike">
                          <a:solidFill>
                            <a:srgbClr val="000000"/>
                          </a:solidFill>
                          <a:effectLst/>
                          <a:latin typeface="Trebuchet MS"/>
                        </a:rPr>
                        <a:t>Need more information on Sub-Category? </a:t>
                      </a:r>
                    </a:p>
                    <a:p>
                      <a:pPr lvl="0" algn="ctr">
                        <a:buNone/>
                      </a:pPr>
                      <a:r>
                        <a:rPr lang="en-US" sz="1100" b="0" i="0" u="none" strike="noStrike">
                          <a:solidFill>
                            <a:srgbClr val="000000"/>
                          </a:solidFill>
                          <a:effectLst/>
                          <a:latin typeface="Trebuchet MS"/>
                          <a:hlinkClick r:id="rId3"/>
                        </a:rPr>
                        <a:t>Check out more information the Buyer Portal</a:t>
                      </a:r>
                      <a:endParaRPr lang="en-US" sz="1100" b="0" i="0" u="none" strike="noStrike">
                        <a:solidFill>
                          <a:srgbClr val="000000"/>
                        </a:solidFill>
                        <a:effectLst/>
                        <a:latin typeface="Trebuchet MS"/>
                      </a:endParaRPr>
                    </a:p>
                  </a:txBody>
                  <a:tcPr marL="6350" marR="6350" marT="6350" marB="0" anchor="ctr">
                    <a:noFill/>
                  </a:tcPr>
                </a:tc>
                <a:extLst>
                  <a:ext uri="{0D108BD9-81ED-4DB2-BD59-A6C34878D82A}">
                    <a16:rowId xmlns:a16="http://schemas.microsoft.com/office/drawing/2014/main" val="2572662060"/>
                  </a:ext>
                </a:extLst>
              </a:tr>
              <a:tr h="603230">
                <a:tc>
                  <a:txBody>
                    <a:bodyPr/>
                    <a:lstStyle/>
                    <a:p>
                      <a:pPr lvl="0" algn="ctr">
                        <a:buNone/>
                      </a:pPr>
                      <a:r>
                        <a:rPr lang="en-US" sz="1200" b="1" i="0" u="none" strike="noStrike" noProof="0">
                          <a:solidFill>
                            <a:srgbClr val="BB2BBE"/>
                          </a:solidFill>
                          <a:effectLst/>
                          <a:latin typeface="Trebuchet MS"/>
                        </a:rPr>
                        <a:t>Is this contract associated with a clinical study?</a:t>
                      </a:r>
                      <a:endParaRPr lang="en-US" sz="1200" b="1" i="0" u="none" strike="noStrike">
                        <a:solidFill>
                          <a:srgbClr val="BB2BBE"/>
                        </a:solidFill>
                        <a:effectLst/>
                        <a:latin typeface="Trebuchet MS"/>
                      </a:endParaRPr>
                    </a:p>
                  </a:txBody>
                  <a:tcPr marL="6350" marR="6350" marT="6350" marB="0" anchor="ctr">
                    <a:solidFill>
                      <a:srgbClr val="EEE7E7"/>
                    </a:solidFill>
                  </a:tcPr>
                </a:tc>
                <a:tc>
                  <a:txBody>
                    <a:bodyPr/>
                    <a:lstStyle/>
                    <a:p>
                      <a:pPr algn="ctr" fontAlgn="t"/>
                      <a:r>
                        <a:rPr lang="en-US" sz="1100" b="0" i="0" u="none" strike="noStrike" kern="1200">
                          <a:solidFill>
                            <a:srgbClr val="000000"/>
                          </a:solidFill>
                          <a:effectLst/>
                          <a:latin typeface="Trebuchet MS"/>
                          <a:ea typeface="+mn-ea"/>
                          <a:cs typeface="+mn-cs"/>
                        </a:rPr>
                        <a:t>If “Yes” is selected, please enter the Study Protocol ID</a:t>
                      </a:r>
                    </a:p>
                  </a:txBody>
                  <a:tcPr marL="6350" marR="6350" marT="6350" marB="0" anchor="ctr">
                    <a:solidFill>
                      <a:srgbClr val="EEE7E7"/>
                    </a:solidFill>
                  </a:tcPr>
                </a:tc>
                <a:extLst>
                  <a:ext uri="{0D108BD9-81ED-4DB2-BD59-A6C34878D82A}">
                    <a16:rowId xmlns:a16="http://schemas.microsoft.com/office/drawing/2014/main" val="2537551584"/>
                  </a:ext>
                </a:extLst>
              </a:tr>
              <a:tr h="575812">
                <a:tc>
                  <a:txBody>
                    <a:bodyPr/>
                    <a:lstStyle/>
                    <a:p>
                      <a:pPr lvl="0" algn="ctr">
                        <a:buNone/>
                      </a:pPr>
                      <a:r>
                        <a:rPr lang="en-US" sz="1200" b="1" i="0" u="none" strike="noStrike" noProof="0">
                          <a:solidFill>
                            <a:srgbClr val="BB2BBE"/>
                          </a:solidFill>
                          <a:effectLst/>
                          <a:latin typeface="Trebuchet MS"/>
                        </a:rPr>
                        <a:t>Is this contract associated with a specific brand?</a:t>
                      </a:r>
                      <a:endParaRPr lang="en-US" sz="1200" b="1" i="0" u="none" strike="noStrike">
                        <a:solidFill>
                          <a:srgbClr val="BB2BBE"/>
                        </a:solidFill>
                        <a:effectLst/>
                        <a:latin typeface="Trebuchet MS"/>
                      </a:endParaRPr>
                    </a:p>
                  </a:txBody>
                  <a:tcPr marL="6350" marR="6350" marT="6350" marB="0" anchor="ctr">
                    <a:solidFill>
                      <a:schemeClr val="bg1"/>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Trebuchet MS"/>
                          <a:ea typeface="+mn-ea"/>
                          <a:cs typeface="+mn-cs"/>
                        </a:rPr>
                        <a:t>If “Yes” is selected, please select the Brand</a:t>
                      </a:r>
                    </a:p>
                    <a:p>
                      <a:pPr algn="ctr" fontAlgn="t"/>
                      <a:endParaRPr lang="en-US" sz="1100" b="0" i="0" u="none" strike="noStrike">
                        <a:solidFill>
                          <a:srgbClr val="000000"/>
                        </a:solidFill>
                        <a:effectLst/>
                        <a:latin typeface="Trebuchet MS"/>
                      </a:endParaRPr>
                    </a:p>
                  </a:txBody>
                  <a:tcPr marL="6350" marR="6350" marT="6350" marB="0" anchor="ctr">
                    <a:solidFill>
                      <a:schemeClr val="bg1"/>
                    </a:solidFill>
                  </a:tcPr>
                </a:tc>
                <a:extLst>
                  <a:ext uri="{0D108BD9-81ED-4DB2-BD59-A6C34878D82A}">
                    <a16:rowId xmlns:a16="http://schemas.microsoft.com/office/drawing/2014/main" val="292266969"/>
                  </a:ext>
                </a:extLst>
              </a:tr>
            </a:tbl>
          </a:graphicData>
        </a:graphic>
      </p:graphicFrame>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129647"/>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2.0 Agreement Selection (Part 1)</a:t>
            </a:r>
            <a:endParaRPr kumimoji="0" lang="en-US" sz="3200" b="0" i="0" u="none" strike="noStrike" kern="1200" cap="none" spc="0" normalizeH="0" baseline="0" noProof="0">
              <a:ln>
                <a:noFill/>
              </a:ln>
              <a:solidFill>
                <a:srgbClr val="595454"/>
              </a:solidFill>
              <a:effectLst/>
              <a:uLnTx/>
              <a:uFillTx/>
              <a:latin typeface="Trebuchet MS"/>
              <a:ea typeface="+mj-ea"/>
              <a:cs typeface="+mj-cs"/>
            </a:endParaRPr>
          </a:p>
        </p:txBody>
      </p:sp>
      <p:sp>
        <p:nvSpPr>
          <p:cNvPr id="4" name="TextBox 3">
            <a:extLst>
              <a:ext uri="{FF2B5EF4-FFF2-40B4-BE49-F238E27FC236}">
                <a16:creationId xmlns:a16="http://schemas.microsoft.com/office/drawing/2014/main" id="{A29F1130-926C-8F54-CB6F-61824E1E4D25}"/>
              </a:ext>
            </a:extLst>
          </p:cNvPr>
          <p:cNvSpPr txBox="1"/>
          <p:nvPr/>
        </p:nvSpPr>
        <p:spPr>
          <a:xfrm>
            <a:off x="115220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3</a:t>
            </a:r>
          </a:p>
        </p:txBody>
      </p:sp>
      <p:pic>
        <p:nvPicPr>
          <p:cNvPr id="8" name="Graphic 1">
            <a:extLst>
              <a:ext uri="{FF2B5EF4-FFF2-40B4-BE49-F238E27FC236}">
                <a16:creationId xmlns:a16="http://schemas.microsoft.com/office/drawing/2014/main" id="{2B630541-26DF-0B52-0F3D-BFFF589DCE2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18" r="27686"/>
          <a:stretch/>
        </p:blipFill>
        <p:spPr>
          <a:xfrm>
            <a:off x="5167890" y="2259893"/>
            <a:ext cx="7172910" cy="4119115"/>
          </a:xfrm>
          <a:prstGeom prst="rect">
            <a:avLst/>
          </a:prstGeom>
        </p:spPr>
      </p:pic>
      <p:pic>
        <p:nvPicPr>
          <p:cNvPr id="2" name="Picture 2" descr="Graphical user interface, application&#10;&#10;Description automatically generated">
            <a:extLst>
              <a:ext uri="{FF2B5EF4-FFF2-40B4-BE49-F238E27FC236}">
                <a16:creationId xmlns:a16="http://schemas.microsoft.com/office/drawing/2014/main" id="{C82885B3-187B-AAF4-DAD4-6B84BD56AE32}"/>
              </a:ext>
            </a:extLst>
          </p:cNvPr>
          <p:cNvPicPr>
            <a:picLocks noChangeAspect="1"/>
          </p:cNvPicPr>
          <p:nvPr/>
        </p:nvPicPr>
        <p:blipFill>
          <a:blip r:embed="rId6"/>
          <a:stretch>
            <a:fillRect/>
          </a:stretch>
        </p:blipFill>
        <p:spPr>
          <a:xfrm>
            <a:off x="6012483" y="2521468"/>
            <a:ext cx="5361165" cy="3036448"/>
          </a:xfrm>
          <a:prstGeom prst="rect">
            <a:avLst/>
          </a:prstGeom>
        </p:spPr>
      </p:pic>
      <p:pic>
        <p:nvPicPr>
          <p:cNvPr id="3" name="Graphic 1">
            <a:extLst>
              <a:ext uri="{FF2B5EF4-FFF2-40B4-BE49-F238E27FC236}">
                <a16:creationId xmlns:a16="http://schemas.microsoft.com/office/drawing/2014/main" id="{D48F69A0-A5C9-2DE0-7A06-3E7B65DD67D4}"/>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0546"/>
          <a:stretch/>
        </p:blipFill>
        <p:spPr>
          <a:xfrm>
            <a:off x="8848796" y="538313"/>
            <a:ext cx="2197243" cy="1481001"/>
          </a:xfrm>
          <a:prstGeom prst="rect">
            <a:avLst/>
          </a:prstGeom>
        </p:spPr>
      </p:pic>
    </p:spTree>
    <p:extLst>
      <p:ext uri="{BB962C8B-B14F-4D97-AF65-F5344CB8AC3E}">
        <p14:creationId xmlns:p14="http://schemas.microsoft.com/office/powerpoint/2010/main" val="4254675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69CB2100-137C-4779-AB90-7427C4A33A74}"/>
              </a:ext>
            </a:extLst>
          </p:cNvPr>
          <p:cNvGraphicFramePr>
            <a:graphicFrameLocks noGrp="1"/>
          </p:cNvGraphicFramePr>
          <p:nvPr>
            <p:extLst>
              <p:ext uri="{D42A27DB-BD31-4B8C-83A1-F6EECF244321}">
                <p14:modId xmlns:p14="http://schemas.microsoft.com/office/powerpoint/2010/main" val="3876774557"/>
              </p:ext>
            </p:extLst>
          </p:nvPr>
        </p:nvGraphicFramePr>
        <p:xfrm>
          <a:off x="300007" y="890198"/>
          <a:ext cx="5071255" cy="4120983"/>
        </p:xfrm>
        <a:graphic>
          <a:graphicData uri="http://schemas.openxmlformats.org/drawingml/2006/table">
            <a:tbl>
              <a:tblPr firstRow="1" bandRow="1">
                <a:tableStyleId>{5C22544A-7EE6-4342-B048-85BDC9FD1C3A}</a:tableStyleId>
              </a:tblPr>
              <a:tblGrid>
                <a:gridCol w="2173246">
                  <a:extLst>
                    <a:ext uri="{9D8B030D-6E8A-4147-A177-3AD203B41FA5}">
                      <a16:colId xmlns:a16="http://schemas.microsoft.com/office/drawing/2014/main" val="667398442"/>
                    </a:ext>
                  </a:extLst>
                </a:gridCol>
                <a:gridCol w="2898009">
                  <a:extLst>
                    <a:ext uri="{9D8B030D-6E8A-4147-A177-3AD203B41FA5}">
                      <a16:colId xmlns:a16="http://schemas.microsoft.com/office/drawing/2014/main" val="3844006668"/>
                    </a:ext>
                  </a:extLst>
                </a:gridCol>
              </a:tblGrid>
              <a:tr h="477431">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extLst>
                  <a:ext uri="{0D108BD9-81ED-4DB2-BD59-A6C34878D82A}">
                    <a16:rowId xmlns:a16="http://schemas.microsoft.com/office/drawing/2014/main" val="2670478932"/>
                  </a:ext>
                </a:extLst>
              </a:tr>
              <a:tr h="628199">
                <a:tc>
                  <a:txBody>
                    <a:bodyPr/>
                    <a:lstStyle/>
                    <a:p>
                      <a:pPr lvl="0" algn="ctr">
                        <a:buNone/>
                      </a:pPr>
                      <a:r>
                        <a:rPr lang="en-US" sz="1200" b="1" i="0" u="none" strike="noStrike" noProof="0">
                          <a:solidFill>
                            <a:srgbClr val="BB2BBE"/>
                          </a:solidFill>
                          <a:effectLst/>
                          <a:latin typeface="Trebuchet MS"/>
                        </a:rPr>
                        <a:t>Select Specialty (Tier 3)</a:t>
                      </a:r>
                      <a:endParaRPr lang="en-US" sz="1200" b="1" i="0" u="none" strike="noStrike">
                        <a:solidFill>
                          <a:srgbClr val="BB2BBE"/>
                        </a:solidFill>
                        <a:effectLst/>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b="0" i="0" u="none" strike="noStrike">
                          <a:solidFill>
                            <a:srgbClr val="000000"/>
                          </a:solidFill>
                          <a:effectLst/>
                          <a:latin typeface="Trebuchet MS"/>
                        </a:rPr>
                        <a:t>Need more information on Specialty? </a:t>
                      </a:r>
                    </a:p>
                    <a:p>
                      <a:pPr lvl="0" algn="ctr">
                        <a:buNone/>
                      </a:pPr>
                      <a:r>
                        <a:rPr lang="en-US" sz="1100" b="0" i="0" u="none" strike="noStrike">
                          <a:solidFill>
                            <a:srgbClr val="000000"/>
                          </a:solidFill>
                          <a:effectLst/>
                          <a:latin typeface="Trebuchet MS"/>
                          <a:hlinkClick r:id="rId3"/>
                        </a:rPr>
                        <a:t>Check out more information the Buyer Portal</a:t>
                      </a:r>
                      <a:endParaRPr lang="en-US" sz="1100" b="0" i="0" u="none" strike="noStrike">
                        <a:solidFill>
                          <a:srgbClr val="000000"/>
                        </a:solidFill>
                        <a:effectLst/>
                        <a:latin typeface="Trebuchet MS"/>
                      </a:endParaRPr>
                    </a:p>
                    <a:p>
                      <a:pPr algn="ctr" fontAlgn="t"/>
                      <a:endParaRPr lang="en-US" sz="1100" b="1" i="0" u="none" strike="noStrike">
                        <a:solidFill>
                          <a:srgbClr val="000000"/>
                        </a:solidFill>
                        <a:effectLst/>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628734250"/>
                  </a:ext>
                </a:extLst>
              </a:tr>
              <a:tr h="603070">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Is this contract already drafted?</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a:solidFill>
                            <a:srgbClr val="000000"/>
                          </a:solidFill>
                          <a:effectLst/>
                          <a:latin typeface="Trebuchet MS"/>
                        </a:rPr>
                        <a:t>If “Yes” is select, the facilitator already has a contract draft and will not be using the template in Icertis.</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465589841"/>
                  </a:ext>
                </a:extLst>
              </a:tr>
              <a:tr h="1206143">
                <a:tc>
                  <a:txBody>
                    <a:bodyPr/>
                    <a:lstStyle/>
                    <a:p>
                      <a:pPr lvl="0" algn="ctr">
                        <a:buNone/>
                      </a:pPr>
                      <a:r>
                        <a:rPr lang="en-US" sz="1200" b="1" i="0" u="none" strike="noStrike" noProof="0">
                          <a:solidFill>
                            <a:srgbClr val="BB2BBE"/>
                          </a:solidFill>
                          <a:effectLst/>
                          <a:latin typeface="Trebuchet MS"/>
                        </a:rPr>
                        <a:t>Is this a pre-negotiated template approved by Procurement and/or Legal?</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algn="ctr" fontAlgn="t"/>
                      <a:r>
                        <a:rPr lang="en-US" sz="1100" b="0" i="0" u="none" strike="noStrike" kern="1200">
                          <a:solidFill>
                            <a:srgbClr val="000000"/>
                          </a:solidFill>
                          <a:effectLst/>
                          <a:latin typeface="Trebuchet MS"/>
                          <a:ea typeface="+mn-ea"/>
                          <a:cs typeface="+mn-cs"/>
                        </a:rPr>
                        <a:t>If “Yes” is selected, the template should be uploaded into the Associated Documents section of the agreement workspace. Please list any instructions (including permitted uses, use restrictions, etc.) for the SOW form in the Document Description field</a:t>
                      </a:r>
                      <a:r>
                        <a:rPr lang="en-US" sz="1100" b="0" i="0">
                          <a:effectLst/>
                          <a:latin typeface="Arial"/>
                        </a:rPr>
                        <a:t>. </a:t>
                      </a:r>
                      <a:endParaRPr lang="en-US" sz="1100" b="0" i="0" u="none" strike="noStrike">
                        <a:solidFill>
                          <a:srgbClr val="000000"/>
                        </a:solidFill>
                        <a:effectLst/>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93530750"/>
                  </a:ext>
                </a:extLst>
              </a:tr>
              <a:tr h="603070">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Is software or SaaS licensing included in this contract?</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a:solidFill>
                            <a:srgbClr val="000000"/>
                          </a:solidFill>
                          <a:effectLst/>
                          <a:latin typeface="Trebuchet MS"/>
                        </a:rPr>
                        <a:t>If “Yes” is selected, an additional IT Reviewer will be added to the agreement workflow.</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572662060"/>
                  </a:ext>
                </a:extLst>
              </a:tr>
              <a:tr h="603070">
                <a:tc>
                  <a:txBody>
                    <a:bodyPr/>
                    <a:lstStyle/>
                    <a:p>
                      <a:pPr lvl="0" algn="ctr">
                        <a:buNone/>
                      </a:pPr>
                      <a:r>
                        <a:rPr lang="en-US" sz="1200" b="1" i="0" u="none" strike="noStrike" noProof="0">
                          <a:solidFill>
                            <a:srgbClr val="BB2BBE"/>
                          </a:solidFill>
                          <a:effectLst/>
                          <a:latin typeface="Trebuchet MS"/>
                        </a:rPr>
                        <a:t>Are there IT-related components to this project?</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Trebuchet MS"/>
                          <a:ea typeface="+mn-ea"/>
                          <a:cs typeface="+mn-cs"/>
                        </a:rPr>
                        <a:t>If “Yes” is selected, an additional IT Reviewer will be added to the agreement workflow.</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537551584"/>
                  </a:ext>
                </a:extLst>
              </a:tr>
            </a:tbl>
          </a:graphicData>
        </a:graphic>
      </p:graphicFrame>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2.0 Agreement Selection (Part 2)</a:t>
            </a:r>
            <a:endParaRPr kumimoji="0" lang="en-US" sz="3200" b="0" i="0" u="none" strike="noStrike" kern="1200" cap="none" spc="0" normalizeH="0" baseline="0" noProof="0">
              <a:ln>
                <a:noFill/>
              </a:ln>
              <a:solidFill>
                <a:srgbClr val="595454"/>
              </a:solidFill>
              <a:effectLst/>
              <a:uLnTx/>
              <a:uFillTx/>
              <a:latin typeface="Trebuchet MS"/>
              <a:ea typeface="+mj-ea"/>
              <a:cs typeface="+mj-cs"/>
            </a:endParaRPr>
          </a:p>
        </p:txBody>
      </p:sp>
      <p:sp>
        <p:nvSpPr>
          <p:cNvPr id="4" name="TextBox 3">
            <a:extLst>
              <a:ext uri="{FF2B5EF4-FFF2-40B4-BE49-F238E27FC236}">
                <a16:creationId xmlns:a16="http://schemas.microsoft.com/office/drawing/2014/main" id="{A29F1130-926C-8F54-CB6F-61824E1E4D25}"/>
              </a:ext>
            </a:extLst>
          </p:cNvPr>
          <p:cNvSpPr txBox="1"/>
          <p:nvPr/>
        </p:nvSpPr>
        <p:spPr>
          <a:xfrm>
            <a:off x="115220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3</a:t>
            </a:r>
          </a:p>
        </p:txBody>
      </p:sp>
      <p:pic>
        <p:nvPicPr>
          <p:cNvPr id="8" name="Graphic 1">
            <a:extLst>
              <a:ext uri="{FF2B5EF4-FFF2-40B4-BE49-F238E27FC236}">
                <a16:creationId xmlns:a16="http://schemas.microsoft.com/office/drawing/2014/main" id="{2B630541-26DF-0B52-0F3D-BFFF589DCE2E}"/>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18" r="27686"/>
          <a:stretch/>
        </p:blipFill>
        <p:spPr>
          <a:xfrm>
            <a:off x="5021823" y="2444687"/>
            <a:ext cx="7072268" cy="4090361"/>
          </a:xfrm>
          <a:prstGeom prst="rect">
            <a:avLst/>
          </a:prstGeom>
        </p:spPr>
      </p:pic>
      <p:pic>
        <p:nvPicPr>
          <p:cNvPr id="2" name="Picture 2" descr="Graphical user interface, application&#10;&#10;Description automatically generated">
            <a:extLst>
              <a:ext uri="{FF2B5EF4-FFF2-40B4-BE49-F238E27FC236}">
                <a16:creationId xmlns:a16="http://schemas.microsoft.com/office/drawing/2014/main" id="{C82885B3-187B-AAF4-DAD4-6B84BD56AE32}"/>
              </a:ext>
            </a:extLst>
          </p:cNvPr>
          <p:cNvPicPr>
            <a:picLocks noChangeAspect="1"/>
          </p:cNvPicPr>
          <p:nvPr/>
        </p:nvPicPr>
        <p:blipFill>
          <a:blip r:embed="rId6"/>
          <a:stretch>
            <a:fillRect/>
          </a:stretch>
        </p:blipFill>
        <p:spPr>
          <a:xfrm>
            <a:off x="5823282" y="2663129"/>
            <a:ext cx="5303656" cy="2964562"/>
          </a:xfrm>
          <a:prstGeom prst="rect">
            <a:avLst/>
          </a:prstGeom>
        </p:spPr>
      </p:pic>
      <p:pic>
        <p:nvPicPr>
          <p:cNvPr id="3" name="Graphic 1">
            <a:extLst>
              <a:ext uri="{FF2B5EF4-FFF2-40B4-BE49-F238E27FC236}">
                <a16:creationId xmlns:a16="http://schemas.microsoft.com/office/drawing/2014/main" id="{D48F69A0-A5C9-2DE0-7A06-3E7B65DD67D4}"/>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0546"/>
          <a:stretch/>
        </p:blipFill>
        <p:spPr>
          <a:xfrm>
            <a:off x="10437941" y="59404"/>
            <a:ext cx="1656150" cy="1116290"/>
          </a:xfrm>
          <a:prstGeom prst="rect">
            <a:avLst/>
          </a:prstGeom>
        </p:spPr>
      </p:pic>
    </p:spTree>
    <p:extLst>
      <p:ext uri="{BB962C8B-B14F-4D97-AF65-F5344CB8AC3E}">
        <p14:creationId xmlns:p14="http://schemas.microsoft.com/office/powerpoint/2010/main" val="3950332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dirty="0">
                <a:solidFill>
                  <a:srgbClr val="595454"/>
                </a:solidFill>
                <a:latin typeface="Trebuchet MS"/>
              </a:rPr>
              <a:t>3.0 Agreement Details (Part 1)</a:t>
            </a:r>
            <a:endParaRPr lang="en-US" b="0" dirty="0">
              <a:ea typeface="+mj-lt"/>
              <a:cs typeface="+mj-lt"/>
            </a:endParaRPr>
          </a:p>
          <a:p>
            <a:pPr marL="0" marR="0" lvl="0" indent="0" algn="l" defTabSz="914400">
              <a:lnSpc>
                <a:spcPct val="90000"/>
              </a:lnSpc>
              <a:spcBef>
                <a:spcPct val="0"/>
              </a:spcBef>
              <a:spcAft>
                <a:spcPts val="0"/>
              </a:spcAft>
              <a:buClrTx/>
              <a:buSzTx/>
              <a:buFontTx/>
              <a:buNone/>
              <a:tabLst/>
              <a:defRPr/>
            </a:pPr>
            <a:endParaRPr lang="en-US" sz="3200" i="0" u="none" strike="noStrike" kern="1200" cap="none" spc="0" normalizeH="0" baseline="0" noProof="0">
              <a:ln>
                <a:noFill/>
              </a:ln>
              <a:solidFill>
                <a:srgbClr val="595454"/>
              </a:solidFill>
              <a:effectLst/>
              <a:uLnTx/>
              <a:uFillTx/>
              <a:latin typeface="Trebuchet MS"/>
            </a:endParaRPr>
          </a:p>
        </p:txBody>
      </p:sp>
      <p:sp>
        <p:nvSpPr>
          <p:cNvPr id="5" name="TextBox 4">
            <a:extLst>
              <a:ext uri="{FF2B5EF4-FFF2-40B4-BE49-F238E27FC236}">
                <a16:creationId xmlns:a16="http://schemas.microsoft.com/office/drawing/2014/main" id="{540072E7-A4B6-9A39-C04D-78AA6249F659}"/>
              </a:ext>
            </a:extLst>
          </p:cNvPr>
          <p:cNvSpPr txBox="1"/>
          <p:nvPr/>
        </p:nvSpPr>
        <p:spPr>
          <a:xfrm>
            <a:off x="115093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5</a:t>
            </a:r>
          </a:p>
        </p:txBody>
      </p:sp>
      <p:graphicFrame>
        <p:nvGraphicFramePr>
          <p:cNvPr id="8" name="Table 7">
            <a:extLst>
              <a:ext uri="{FF2B5EF4-FFF2-40B4-BE49-F238E27FC236}">
                <a16:creationId xmlns:a16="http://schemas.microsoft.com/office/drawing/2014/main" id="{A0E88ACC-7BE3-F8F6-3762-ACF434134537}"/>
              </a:ext>
            </a:extLst>
          </p:cNvPr>
          <p:cNvGraphicFramePr>
            <a:graphicFrameLocks noGrp="1"/>
          </p:cNvGraphicFramePr>
          <p:nvPr>
            <p:extLst>
              <p:ext uri="{D42A27DB-BD31-4B8C-83A1-F6EECF244321}">
                <p14:modId xmlns:p14="http://schemas.microsoft.com/office/powerpoint/2010/main" val="3030639395"/>
              </p:ext>
            </p:extLst>
          </p:nvPr>
        </p:nvGraphicFramePr>
        <p:xfrm>
          <a:off x="316301" y="1107056"/>
          <a:ext cx="4647585" cy="4858680"/>
        </p:xfrm>
        <a:graphic>
          <a:graphicData uri="http://schemas.openxmlformats.org/drawingml/2006/table">
            <a:tbl>
              <a:tblPr firstRow="1" bandRow="1">
                <a:tableStyleId>{5C22544A-7EE6-4342-B048-85BDC9FD1C3A}</a:tableStyleId>
              </a:tblPr>
              <a:tblGrid>
                <a:gridCol w="2142590">
                  <a:extLst>
                    <a:ext uri="{9D8B030D-6E8A-4147-A177-3AD203B41FA5}">
                      <a16:colId xmlns:a16="http://schemas.microsoft.com/office/drawing/2014/main" val="667398442"/>
                    </a:ext>
                  </a:extLst>
                </a:gridCol>
                <a:gridCol w="2504995">
                  <a:extLst>
                    <a:ext uri="{9D8B030D-6E8A-4147-A177-3AD203B41FA5}">
                      <a16:colId xmlns:a16="http://schemas.microsoft.com/office/drawing/2014/main" val="3844006668"/>
                    </a:ext>
                  </a:extLst>
                </a:gridCol>
              </a:tblGrid>
              <a:tr h="543406">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extLst>
                  <a:ext uri="{0D108BD9-81ED-4DB2-BD59-A6C34878D82A}">
                    <a16:rowId xmlns:a16="http://schemas.microsoft.com/office/drawing/2014/main" val="2670478932"/>
                  </a:ext>
                </a:extLst>
              </a:tr>
              <a:tr h="671264">
                <a:tc>
                  <a:txBody>
                    <a:bodyPr/>
                    <a:lstStyle/>
                    <a:p>
                      <a:pPr lvl="0" algn="ctr">
                        <a:buNone/>
                      </a:pPr>
                      <a:r>
                        <a:rPr lang="en-US" sz="1200" b="1" i="0" u="none" strike="noStrike" noProof="0">
                          <a:solidFill>
                            <a:srgbClr val="BB2BBE"/>
                          </a:solidFill>
                          <a:effectLst/>
                          <a:latin typeface="Trebuchet MS"/>
                        </a:rPr>
                        <a:t>Region</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algn="ctr" fontAlgn="t"/>
                      <a:r>
                        <a:rPr lang="en-US" sz="1100" b="0" i="0" u="none" strike="noStrike">
                          <a:solidFill>
                            <a:srgbClr val="000000"/>
                          </a:solidFill>
                          <a:effectLst/>
                          <a:latin typeface="Trebuchet MS"/>
                        </a:rPr>
                        <a:t>For Wave 1 of Icertis Implementation, please select United States or Global</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628734250"/>
                  </a:ext>
                </a:extLst>
              </a:tr>
              <a:tr h="543406">
                <a:tc>
                  <a:txBody>
                    <a:bodyPr/>
                    <a:lstStyle/>
                    <a:p>
                      <a:pPr lvl="0" algn="ctr">
                        <a:buNone/>
                      </a:pPr>
                      <a:r>
                        <a:rPr lang="en-US" sz="1200" b="1" i="0" u="none" strike="noStrike" noProof="0">
                          <a:solidFill>
                            <a:srgbClr val="BB2BBE"/>
                          </a:solidFill>
                          <a:effectLst/>
                          <a:latin typeface="Trebuchet MS"/>
                        </a:rPr>
                        <a:t>What is the Primary Beneficiary Site?</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kern="1200">
                          <a:solidFill>
                            <a:srgbClr val="000000"/>
                          </a:solidFill>
                          <a:effectLst/>
                          <a:latin typeface="Trebuchet MS"/>
                          <a:ea typeface="+mn-ea"/>
                          <a:cs typeface="+mn-cs"/>
                        </a:rPr>
                        <a:t>Please select the location where the services will be completed</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465589841"/>
                  </a:ext>
                </a:extLst>
              </a:tr>
              <a:tr h="1054846">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Select Language of Contract</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Trebuchet MS"/>
                          <a:ea typeface="+mn-ea"/>
                          <a:cs typeface="+mn-cs"/>
                        </a:rPr>
                        <a:t>For Wave 1 of Icertis Implementation, please select English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93530750"/>
                  </a:ext>
                </a:extLst>
              </a:tr>
              <a:tr h="703230">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Auto Renewal?</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a:solidFill>
                            <a:srgbClr val="000000"/>
                          </a:solidFill>
                          <a:effectLst/>
                          <a:latin typeface="Trebuchet MS"/>
                        </a:rPr>
                        <a:t>This is defaulted to Auto Renewal</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572662060"/>
                  </a:ext>
                </a:extLst>
              </a:tr>
              <a:tr h="671264">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Contract Effective Date</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b="0" i="0" u="none" strike="noStrike" noProof="0">
                          <a:solidFill>
                            <a:srgbClr val="000000"/>
                          </a:solidFill>
                          <a:effectLst/>
                          <a:latin typeface="Trebuchet MS"/>
                        </a:rPr>
                        <a:t>Today or when you think the contract will be effective</a:t>
                      </a:r>
                      <a:endParaRPr lang="en-US"/>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537551584"/>
                  </a:ext>
                </a:extLst>
              </a:tr>
              <a:tr h="671264">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Expected Term Life</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en-US" sz="1100" b="1" i="0" u="none" strike="noStrike" noProof="0">
                          <a:effectLst/>
                        </a:rPr>
                        <a:t>Autogenerated field </a:t>
                      </a:r>
                      <a:endParaRPr lang="en-US"/>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92266969"/>
                  </a:ext>
                </a:extLst>
              </a:tr>
            </a:tbl>
          </a:graphicData>
        </a:graphic>
      </p:graphicFrame>
      <p:pic>
        <p:nvPicPr>
          <p:cNvPr id="13" name="Graphic 12">
            <a:extLst>
              <a:ext uri="{FF2B5EF4-FFF2-40B4-BE49-F238E27FC236}">
                <a16:creationId xmlns:a16="http://schemas.microsoft.com/office/drawing/2014/main" id="{FDC61B82-0712-F914-B5A1-AEB0C02FF20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8" r="27686"/>
          <a:stretch/>
        </p:blipFill>
        <p:spPr>
          <a:xfrm>
            <a:off x="5038156" y="2436162"/>
            <a:ext cx="7172910" cy="4104738"/>
          </a:xfrm>
          <a:prstGeom prst="rect">
            <a:avLst/>
          </a:prstGeom>
        </p:spPr>
      </p:pic>
      <p:pic>
        <p:nvPicPr>
          <p:cNvPr id="3" name="Graphic 2">
            <a:extLst>
              <a:ext uri="{FF2B5EF4-FFF2-40B4-BE49-F238E27FC236}">
                <a16:creationId xmlns:a16="http://schemas.microsoft.com/office/drawing/2014/main" id="{8C07C2DF-DB61-AE03-6758-8267ED88546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0546"/>
          <a:stretch/>
        </p:blipFill>
        <p:spPr>
          <a:xfrm>
            <a:off x="8848796" y="538313"/>
            <a:ext cx="2197243" cy="1481001"/>
          </a:xfrm>
          <a:prstGeom prst="rect">
            <a:avLst/>
          </a:prstGeom>
        </p:spPr>
      </p:pic>
      <p:pic>
        <p:nvPicPr>
          <p:cNvPr id="2" name="Picture 3" descr="Graphical user interface, application&#10;&#10;Description automatically generated">
            <a:extLst>
              <a:ext uri="{FF2B5EF4-FFF2-40B4-BE49-F238E27FC236}">
                <a16:creationId xmlns:a16="http://schemas.microsoft.com/office/drawing/2014/main" id="{31DEF228-DE4F-F3A7-80A2-981C6DD1CA4D}"/>
              </a:ext>
            </a:extLst>
          </p:cNvPr>
          <p:cNvPicPr>
            <a:picLocks noChangeAspect="1"/>
          </p:cNvPicPr>
          <p:nvPr/>
        </p:nvPicPr>
        <p:blipFill>
          <a:blip r:embed="rId7"/>
          <a:stretch>
            <a:fillRect/>
          </a:stretch>
        </p:blipFill>
        <p:spPr>
          <a:xfrm>
            <a:off x="5860212" y="2620346"/>
            <a:ext cx="5374256" cy="3083797"/>
          </a:xfrm>
          <a:prstGeom prst="rect">
            <a:avLst/>
          </a:prstGeom>
        </p:spPr>
      </p:pic>
    </p:spTree>
    <p:extLst>
      <p:ext uri="{BB962C8B-B14F-4D97-AF65-F5344CB8AC3E}">
        <p14:creationId xmlns:p14="http://schemas.microsoft.com/office/powerpoint/2010/main" val="2432513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3.0 Agreement Details (Part 2)</a:t>
            </a:r>
            <a:endParaRPr lang="en-US" sz="3200" i="0" u="none" strike="noStrike" kern="1200" cap="none" spc="0" normalizeH="0" baseline="0" noProof="0">
              <a:ln>
                <a:noFill/>
              </a:ln>
              <a:solidFill>
                <a:srgbClr val="595454"/>
              </a:solidFill>
              <a:effectLst/>
              <a:uLnTx/>
              <a:uFillTx/>
              <a:latin typeface="Trebuchet MS"/>
            </a:endParaRPr>
          </a:p>
        </p:txBody>
      </p:sp>
      <p:sp>
        <p:nvSpPr>
          <p:cNvPr id="5" name="TextBox 4">
            <a:extLst>
              <a:ext uri="{FF2B5EF4-FFF2-40B4-BE49-F238E27FC236}">
                <a16:creationId xmlns:a16="http://schemas.microsoft.com/office/drawing/2014/main" id="{540072E7-A4B6-9A39-C04D-78AA6249F659}"/>
              </a:ext>
            </a:extLst>
          </p:cNvPr>
          <p:cNvSpPr txBox="1"/>
          <p:nvPr/>
        </p:nvSpPr>
        <p:spPr>
          <a:xfrm>
            <a:off x="115093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5</a:t>
            </a:r>
          </a:p>
        </p:txBody>
      </p:sp>
      <p:graphicFrame>
        <p:nvGraphicFramePr>
          <p:cNvPr id="8" name="Table 7">
            <a:extLst>
              <a:ext uri="{FF2B5EF4-FFF2-40B4-BE49-F238E27FC236}">
                <a16:creationId xmlns:a16="http://schemas.microsoft.com/office/drawing/2014/main" id="{A0E88ACC-7BE3-F8F6-3762-ACF434134537}"/>
              </a:ext>
            </a:extLst>
          </p:cNvPr>
          <p:cNvGraphicFramePr>
            <a:graphicFrameLocks noGrp="1"/>
          </p:cNvGraphicFramePr>
          <p:nvPr>
            <p:extLst>
              <p:ext uri="{D42A27DB-BD31-4B8C-83A1-F6EECF244321}">
                <p14:modId xmlns:p14="http://schemas.microsoft.com/office/powerpoint/2010/main" val="3430739516"/>
              </p:ext>
            </p:extLst>
          </p:nvPr>
        </p:nvGraphicFramePr>
        <p:xfrm>
          <a:off x="359193" y="1048349"/>
          <a:ext cx="5441301" cy="4737660"/>
        </p:xfrm>
        <a:graphic>
          <a:graphicData uri="http://schemas.openxmlformats.org/drawingml/2006/table">
            <a:tbl>
              <a:tblPr firstRow="1" bandRow="1">
                <a:tableStyleId>{5C22544A-7EE6-4342-B048-85BDC9FD1C3A}</a:tableStyleId>
              </a:tblPr>
              <a:tblGrid>
                <a:gridCol w="2343788">
                  <a:extLst>
                    <a:ext uri="{9D8B030D-6E8A-4147-A177-3AD203B41FA5}">
                      <a16:colId xmlns:a16="http://schemas.microsoft.com/office/drawing/2014/main" val="667398442"/>
                    </a:ext>
                  </a:extLst>
                </a:gridCol>
                <a:gridCol w="3097513">
                  <a:extLst>
                    <a:ext uri="{9D8B030D-6E8A-4147-A177-3AD203B41FA5}">
                      <a16:colId xmlns:a16="http://schemas.microsoft.com/office/drawing/2014/main" val="3844006668"/>
                    </a:ext>
                  </a:extLst>
                </a:gridCol>
              </a:tblGrid>
              <a:tr h="488122">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extLst>
                  <a:ext uri="{0D108BD9-81ED-4DB2-BD59-A6C34878D82A}">
                    <a16:rowId xmlns:a16="http://schemas.microsoft.com/office/drawing/2014/main" val="2670478932"/>
                  </a:ext>
                </a:extLst>
              </a:tr>
              <a:tr h="803967">
                <a:tc>
                  <a:txBody>
                    <a:bodyPr/>
                    <a:lstStyle/>
                    <a:p>
                      <a:pPr lvl="0" algn="ctr">
                        <a:buNone/>
                      </a:pPr>
                      <a:r>
                        <a:rPr lang="en-US" sz="1200" b="1" i="0" u="none" strike="noStrike" noProof="0">
                          <a:solidFill>
                            <a:srgbClr val="BB2BBE"/>
                          </a:solidFill>
                          <a:effectLst/>
                          <a:latin typeface="Trebuchet MS"/>
                        </a:rPr>
                        <a:t>Expiry Date</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algn="ctr" fontAlgn="t"/>
                      <a:r>
                        <a:rPr lang="en-US" sz="1100" b="1" i="0" u="none" strike="noStrike">
                          <a:solidFill>
                            <a:srgbClr val="000000"/>
                          </a:solidFill>
                          <a:effectLst/>
                          <a:latin typeface="Trebuchet MS"/>
                        </a:rPr>
                        <a:t>When the contract will expire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628734250"/>
                  </a:ext>
                </a:extLst>
              </a:tr>
              <a:tr h="803967">
                <a:tc>
                  <a:txBody>
                    <a:bodyPr/>
                    <a:lstStyle/>
                    <a:p>
                      <a:pPr lvl="0" algn="ctr">
                        <a:buNone/>
                      </a:pPr>
                      <a:r>
                        <a:rPr lang="en-US" sz="1200" b="1" i="0" u="none" strike="noStrike" noProof="0">
                          <a:solidFill>
                            <a:srgbClr val="BB2BBE"/>
                          </a:solidFill>
                          <a:effectLst/>
                          <a:latin typeface="Trebuchet MS"/>
                        </a:rPr>
                        <a:t>What is the currency of the agreement?</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a:solidFill>
                            <a:srgbClr val="000000"/>
                          </a:solidFill>
                          <a:effectLst/>
                          <a:latin typeface="Trebuchet MS"/>
                        </a:rPr>
                        <a:t>To find currency for the United States, search “US Dollar”</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465589841"/>
                  </a:ext>
                </a:extLst>
              </a:tr>
              <a:tr h="689114">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Does your agreement include pricing?</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a:solidFill>
                            <a:srgbClr val="000000"/>
                          </a:solidFill>
                          <a:effectLst/>
                          <a:latin typeface="Trebuchet MS"/>
                          <a:ea typeface="+mn-ea"/>
                          <a:cs typeface="+mn-cs"/>
                        </a:rPr>
                        <a:t>If “Yes” is selected, please include the Pricing Table in the Supporting Documents.</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93530750"/>
                  </a:ext>
                </a:extLst>
              </a:tr>
              <a:tr h="689114">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Anticipated Spend</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1" i="0" u="none" strike="noStrike" kern="1200">
                          <a:solidFill>
                            <a:schemeClr val="dk1"/>
                          </a:solidFill>
                          <a:effectLst/>
                          <a:latin typeface="+mn-lt"/>
                          <a:ea typeface="+mn-ea"/>
                          <a:cs typeface="+mn-cs"/>
                        </a:rPr>
                        <a:t>Foreseeable spend on the agreement</a:t>
                      </a:r>
                      <a:br>
                        <a:rPr lang="en-US" sz="1100" b="1" i="0" u="none" strike="noStrike" kern="1200">
                          <a:solidFill>
                            <a:schemeClr val="dk1"/>
                          </a:solidFill>
                          <a:effectLst/>
                          <a:latin typeface="+mn-lt"/>
                          <a:ea typeface="+mn-ea"/>
                          <a:cs typeface="+mn-cs"/>
                        </a:rPr>
                      </a:br>
                      <a:endParaRPr lang="en-US" sz="1100" b="1" i="0" u="none" strike="noStrike" kern="1200">
                        <a:solidFill>
                          <a:schemeClr val="dk1"/>
                        </a:solidFill>
                        <a:effectLst/>
                        <a:latin typeface="+mn-lt"/>
                        <a:ea typeface="+mn-ea"/>
                        <a:cs typeface="+mn-c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572662060"/>
                  </a:ext>
                </a:extLst>
              </a:tr>
              <a:tr h="660401">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Total Anticipated Spend</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b="1" i="0" u="none" strike="noStrike" kern="1200">
                          <a:solidFill>
                            <a:schemeClr val="dk1"/>
                          </a:solidFill>
                          <a:effectLst/>
                          <a:latin typeface="+mn-lt"/>
                          <a:ea typeface="+mn-ea"/>
                          <a:cs typeface="+mn-cs"/>
                        </a:rPr>
                        <a:t>Cumulative value of all amendments pertaining to the agreement</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537551584"/>
                  </a:ext>
                </a:extLst>
              </a:tr>
              <a:tr h="602975">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Contract Payment Terms</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en-US" sz="1100" b="1" i="0" u="none" strike="noStrike" noProof="0" err="1">
                          <a:effectLst/>
                        </a:rPr>
                        <a:t>Autopopulated</a:t>
                      </a:r>
                      <a:r>
                        <a:rPr lang="en-US" sz="1100" b="1" i="0" u="none" strike="noStrike" noProof="0">
                          <a:effectLst/>
                        </a:rPr>
                        <a:t>, depending on Effective Date </a:t>
                      </a:r>
                      <a:endParaRPr lang="en-US"/>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92266969"/>
                  </a:ext>
                </a:extLst>
              </a:tr>
            </a:tbl>
          </a:graphicData>
        </a:graphic>
      </p:graphicFrame>
      <p:pic>
        <p:nvPicPr>
          <p:cNvPr id="13" name="Graphic 12">
            <a:extLst>
              <a:ext uri="{FF2B5EF4-FFF2-40B4-BE49-F238E27FC236}">
                <a16:creationId xmlns:a16="http://schemas.microsoft.com/office/drawing/2014/main" id="{FDC61B82-0712-F914-B5A1-AEB0C02FF20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8" r="27686"/>
          <a:stretch/>
        </p:blipFill>
        <p:spPr>
          <a:xfrm>
            <a:off x="5237711" y="2548523"/>
            <a:ext cx="6998326" cy="4002269"/>
          </a:xfrm>
          <a:prstGeom prst="rect">
            <a:avLst/>
          </a:prstGeom>
        </p:spPr>
      </p:pic>
      <p:pic>
        <p:nvPicPr>
          <p:cNvPr id="3" name="Graphic 2">
            <a:extLst>
              <a:ext uri="{FF2B5EF4-FFF2-40B4-BE49-F238E27FC236}">
                <a16:creationId xmlns:a16="http://schemas.microsoft.com/office/drawing/2014/main" id="{8C07C2DF-DB61-AE03-6758-8267ED88546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0546"/>
          <a:stretch/>
        </p:blipFill>
        <p:spPr>
          <a:xfrm>
            <a:off x="8848796" y="538313"/>
            <a:ext cx="2197243" cy="1481001"/>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0F8B613D-6928-0882-8B94-EEA6105C6DFF}"/>
              </a:ext>
            </a:extLst>
          </p:cNvPr>
          <p:cNvPicPr>
            <a:picLocks noChangeAspect="1"/>
          </p:cNvPicPr>
          <p:nvPr/>
        </p:nvPicPr>
        <p:blipFill>
          <a:blip r:embed="rId7"/>
          <a:stretch>
            <a:fillRect/>
          </a:stretch>
        </p:blipFill>
        <p:spPr>
          <a:xfrm>
            <a:off x="6090020" y="2753393"/>
            <a:ext cx="5168639" cy="2962846"/>
          </a:xfrm>
          <a:prstGeom prst="rect">
            <a:avLst/>
          </a:prstGeom>
        </p:spPr>
      </p:pic>
    </p:spTree>
    <p:extLst>
      <p:ext uri="{BB962C8B-B14F-4D97-AF65-F5344CB8AC3E}">
        <p14:creationId xmlns:p14="http://schemas.microsoft.com/office/powerpoint/2010/main" val="907025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4.0 BMS Legal Entity Details</a:t>
            </a:r>
          </a:p>
        </p:txBody>
      </p:sp>
      <p:sp>
        <p:nvSpPr>
          <p:cNvPr id="5" name="TextBox 4">
            <a:extLst>
              <a:ext uri="{FF2B5EF4-FFF2-40B4-BE49-F238E27FC236}">
                <a16:creationId xmlns:a16="http://schemas.microsoft.com/office/drawing/2014/main" id="{540072E7-A4B6-9A39-C04D-78AA6249F659}"/>
              </a:ext>
            </a:extLst>
          </p:cNvPr>
          <p:cNvSpPr txBox="1"/>
          <p:nvPr/>
        </p:nvSpPr>
        <p:spPr>
          <a:xfrm>
            <a:off x="115093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5</a:t>
            </a:r>
          </a:p>
        </p:txBody>
      </p:sp>
      <p:graphicFrame>
        <p:nvGraphicFramePr>
          <p:cNvPr id="8" name="Table 7">
            <a:extLst>
              <a:ext uri="{FF2B5EF4-FFF2-40B4-BE49-F238E27FC236}">
                <a16:creationId xmlns:a16="http://schemas.microsoft.com/office/drawing/2014/main" id="{A0E88ACC-7BE3-F8F6-3762-ACF434134537}"/>
              </a:ext>
            </a:extLst>
          </p:cNvPr>
          <p:cNvGraphicFramePr>
            <a:graphicFrameLocks noGrp="1"/>
          </p:cNvGraphicFramePr>
          <p:nvPr>
            <p:extLst>
              <p:ext uri="{D42A27DB-BD31-4B8C-83A1-F6EECF244321}">
                <p14:modId xmlns:p14="http://schemas.microsoft.com/office/powerpoint/2010/main" val="796332493"/>
              </p:ext>
            </p:extLst>
          </p:nvPr>
        </p:nvGraphicFramePr>
        <p:xfrm>
          <a:off x="330440" y="1033972"/>
          <a:ext cx="5048384" cy="1481001"/>
        </p:xfrm>
        <a:graphic>
          <a:graphicData uri="http://schemas.openxmlformats.org/drawingml/2006/table">
            <a:tbl>
              <a:tblPr firstRow="1" bandRow="1">
                <a:tableStyleId>{5C22544A-7EE6-4342-B048-85BDC9FD1C3A}</a:tableStyleId>
              </a:tblPr>
              <a:tblGrid>
                <a:gridCol w="2174543">
                  <a:extLst>
                    <a:ext uri="{9D8B030D-6E8A-4147-A177-3AD203B41FA5}">
                      <a16:colId xmlns:a16="http://schemas.microsoft.com/office/drawing/2014/main" val="667398442"/>
                    </a:ext>
                  </a:extLst>
                </a:gridCol>
                <a:gridCol w="2873841">
                  <a:extLst>
                    <a:ext uri="{9D8B030D-6E8A-4147-A177-3AD203B41FA5}">
                      <a16:colId xmlns:a16="http://schemas.microsoft.com/office/drawing/2014/main" val="3844006668"/>
                    </a:ext>
                  </a:extLst>
                </a:gridCol>
              </a:tblGrid>
              <a:tr h="683539">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extLst>
                  <a:ext uri="{0D108BD9-81ED-4DB2-BD59-A6C34878D82A}">
                    <a16:rowId xmlns:a16="http://schemas.microsoft.com/office/drawing/2014/main" val="2670478932"/>
                  </a:ext>
                </a:extLst>
              </a:tr>
              <a:tr h="797462">
                <a:tc>
                  <a:txBody>
                    <a:bodyPr/>
                    <a:lstStyle/>
                    <a:p>
                      <a:pPr lvl="0" algn="ctr">
                        <a:buNone/>
                      </a:pPr>
                      <a:r>
                        <a:rPr lang="en-US" sz="1200" b="1" i="0" u="none" strike="noStrike" noProof="0">
                          <a:solidFill>
                            <a:srgbClr val="BB2BBE"/>
                          </a:solidFill>
                          <a:effectLst/>
                          <a:latin typeface="Trebuchet MS"/>
                        </a:rPr>
                        <a:t>Number of Internal Parties</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algn="ctr" fontAlgn="t"/>
                      <a:r>
                        <a:rPr lang="en-US" sz="1100" b="0" i="0" u="none" strike="noStrike">
                          <a:solidFill>
                            <a:srgbClr val="000000"/>
                          </a:solidFill>
                          <a:effectLst/>
                          <a:latin typeface="Trebuchet MS"/>
                        </a:rPr>
                        <a:t>You can select either 1 or 2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628734250"/>
                  </a:ext>
                </a:extLst>
              </a:tr>
            </a:tbl>
          </a:graphicData>
        </a:graphic>
      </p:graphicFrame>
      <p:pic>
        <p:nvPicPr>
          <p:cNvPr id="13" name="Graphic 12">
            <a:extLst>
              <a:ext uri="{FF2B5EF4-FFF2-40B4-BE49-F238E27FC236}">
                <a16:creationId xmlns:a16="http://schemas.microsoft.com/office/drawing/2014/main" id="{FDC61B82-0712-F914-B5A1-AEB0C02FF20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8" r="27686"/>
          <a:stretch/>
        </p:blipFill>
        <p:spPr>
          <a:xfrm>
            <a:off x="4865967" y="2231137"/>
            <a:ext cx="7259173" cy="4147870"/>
          </a:xfrm>
          <a:prstGeom prst="rect">
            <a:avLst/>
          </a:prstGeom>
        </p:spPr>
      </p:pic>
      <p:pic>
        <p:nvPicPr>
          <p:cNvPr id="3" name="Graphic 2">
            <a:extLst>
              <a:ext uri="{FF2B5EF4-FFF2-40B4-BE49-F238E27FC236}">
                <a16:creationId xmlns:a16="http://schemas.microsoft.com/office/drawing/2014/main" id="{8C07C2DF-DB61-AE03-6758-8267ED88546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0546"/>
          <a:stretch/>
        </p:blipFill>
        <p:spPr>
          <a:xfrm>
            <a:off x="8848796" y="538313"/>
            <a:ext cx="2197243" cy="1481001"/>
          </a:xfrm>
          <a:prstGeom prst="rect">
            <a:avLst/>
          </a:prstGeom>
        </p:spPr>
      </p:pic>
      <p:pic>
        <p:nvPicPr>
          <p:cNvPr id="2" name="Picture 3" descr="Graphical user interface, text, application, email&#10;&#10;Description automatically generated">
            <a:extLst>
              <a:ext uri="{FF2B5EF4-FFF2-40B4-BE49-F238E27FC236}">
                <a16:creationId xmlns:a16="http://schemas.microsoft.com/office/drawing/2014/main" id="{5CCFE3BE-2D8F-6B33-00FE-E1DB3205C9E3}"/>
              </a:ext>
            </a:extLst>
          </p:cNvPr>
          <p:cNvPicPr>
            <a:picLocks noChangeAspect="1"/>
          </p:cNvPicPr>
          <p:nvPr/>
        </p:nvPicPr>
        <p:blipFill>
          <a:blip r:embed="rId7"/>
          <a:stretch>
            <a:fillRect/>
          </a:stretch>
        </p:blipFill>
        <p:spPr>
          <a:xfrm>
            <a:off x="5704116" y="2485582"/>
            <a:ext cx="5416246" cy="3072168"/>
          </a:xfrm>
          <a:prstGeom prst="rect">
            <a:avLst/>
          </a:prstGeom>
        </p:spPr>
      </p:pic>
    </p:spTree>
    <p:extLst>
      <p:ext uri="{BB962C8B-B14F-4D97-AF65-F5344CB8AC3E}">
        <p14:creationId xmlns:p14="http://schemas.microsoft.com/office/powerpoint/2010/main" val="4182820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5.0 External Party Details</a:t>
            </a:r>
          </a:p>
          <a:p>
            <a:pPr marL="0" marR="0" lvl="0" indent="0" algn="l" defTabSz="914400">
              <a:lnSpc>
                <a:spcPct val="90000"/>
              </a:lnSpc>
              <a:spcBef>
                <a:spcPct val="0"/>
              </a:spcBef>
              <a:spcAft>
                <a:spcPts val="0"/>
              </a:spcAft>
              <a:buClrTx/>
              <a:buSzTx/>
              <a:buFontTx/>
              <a:buNone/>
              <a:tabLst/>
              <a:defRPr/>
            </a:pPr>
            <a:endParaRPr lang="en-US" sz="3200" i="0" u="none" strike="noStrike" kern="1200" cap="none" spc="0" normalizeH="0" baseline="0" noProof="0">
              <a:ln>
                <a:noFill/>
              </a:ln>
              <a:solidFill>
                <a:srgbClr val="595454"/>
              </a:solidFill>
              <a:effectLst/>
              <a:uLnTx/>
              <a:uFillTx/>
              <a:latin typeface="Trebuchet MS"/>
            </a:endParaRPr>
          </a:p>
        </p:txBody>
      </p:sp>
      <p:sp>
        <p:nvSpPr>
          <p:cNvPr id="5" name="TextBox 4">
            <a:extLst>
              <a:ext uri="{FF2B5EF4-FFF2-40B4-BE49-F238E27FC236}">
                <a16:creationId xmlns:a16="http://schemas.microsoft.com/office/drawing/2014/main" id="{540072E7-A4B6-9A39-C04D-78AA6249F659}"/>
              </a:ext>
            </a:extLst>
          </p:cNvPr>
          <p:cNvSpPr txBox="1"/>
          <p:nvPr/>
        </p:nvSpPr>
        <p:spPr>
          <a:xfrm>
            <a:off x="115093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5</a:t>
            </a:r>
          </a:p>
        </p:txBody>
      </p:sp>
      <p:graphicFrame>
        <p:nvGraphicFramePr>
          <p:cNvPr id="8" name="Table 7">
            <a:extLst>
              <a:ext uri="{FF2B5EF4-FFF2-40B4-BE49-F238E27FC236}">
                <a16:creationId xmlns:a16="http://schemas.microsoft.com/office/drawing/2014/main" id="{A0E88ACC-7BE3-F8F6-3762-ACF434134537}"/>
              </a:ext>
            </a:extLst>
          </p:cNvPr>
          <p:cNvGraphicFramePr>
            <a:graphicFrameLocks noGrp="1"/>
          </p:cNvGraphicFramePr>
          <p:nvPr>
            <p:extLst>
              <p:ext uri="{D42A27DB-BD31-4B8C-83A1-F6EECF244321}">
                <p14:modId xmlns:p14="http://schemas.microsoft.com/office/powerpoint/2010/main" val="3313060985"/>
              </p:ext>
            </p:extLst>
          </p:nvPr>
        </p:nvGraphicFramePr>
        <p:xfrm>
          <a:off x="365760" y="836848"/>
          <a:ext cx="5489474" cy="4124644"/>
        </p:xfrm>
        <a:graphic>
          <a:graphicData uri="http://schemas.openxmlformats.org/drawingml/2006/table">
            <a:tbl>
              <a:tblPr firstRow="1" bandRow="1">
                <a:tableStyleId>{5C22544A-7EE6-4342-B048-85BDC9FD1C3A}</a:tableStyleId>
              </a:tblPr>
              <a:tblGrid>
                <a:gridCol w="2323111">
                  <a:extLst>
                    <a:ext uri="{9D8B030D-6E8A-4147-A177-3AD203B41FA5}">
                      <a16:colId xmlns:a16="http://schemas.microsoft.com/office/drawing/2014/main" val="667398442"/>
                    </a:ext>
                  </a:extLst>
                </a:gridCol>
                <a:gridCol w="3166363">
                  <a:extLst>
                    <a:ext uri="{9D8B030D-6E8A-4147-A177-3AD203B41FA5}">
                      <a16:colId xmlns:a16="http://schemas.microsoft.com/office/drawing/2014/main" val="3844006668"/>
                    </a:ext>
                  </a:extLst>
                </a:gridCol>
              </a:tblGrid>
              <a:tr h="649250">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cap="flat" cmpd="sng" algn="ctr">
                      <a:solidFill>
                        <a:schemeClr val="tx1"/>
                      </a:solidFill>
                      <a:prstDash val="solid"/>
                      <a:round/>
                      <a:headEnd type="none" w="med" len="med"/>
                      <a:tailEnd type="none" w="med" len="med"/>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solidFill>
                      <a:srgbClr val="A69F9F"/>
                    </a:solidFill>
                  </a:tcPr>
                </a:tc>
                <a:extLst>
                  <a:ext uri="{0D108BD9-81ED-4DB2-BD59-A6C34878D82A}">
                    <a16:rowId xmlns:a16="http://schemas.microsoft.com/office/drawing/2014/main" val="2670478932"/>
                  </a:ext>
                </a:extLst>
              </a:tr>
              <a:tr h="802014">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Number of External Parties</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a:solidFill>
                            <a:srgbClr val="000000"/>
                          </a:solidFill>
                          <a:effectLst/>
                          <a:latin typeface="Trebuchet MS"/>
                        </a:rPr>
                        <a:t>You can only select 1, 2, or 3 external parties.  </a:t>
                      </a:r>
                    </a:p>
                  </a:txBody>
                  <a:tcPr marL="6350" marR="6350" marT="6350" marB="0" anchor="ctr">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5589841"/>
                  </a:ext>
                </a:extLst>
              </a:tr>
              <a:tr h="763822">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Vendor Preferred Status</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b="0" i="0" u="none" strike="noStrike" kern="1200">
                          <a:solidFill>
                            <a:srgbClr val="000000"/>
                          </a:solidFill>
                          <a:effectLst/>
                          <a:latin typeface="Trebuchet MS"/>
                          <a:ea typeface="+mn-ea"/>
                          <a:cs typeface="+mn-cs"/>
                        </a:rPr>
                        <a:t>This is an autopopulated field. All preferred suppliers can be found in the </a:t>
                      </a:r>
                      <a:r>
                        <a:rPr lang="en-US" sz="1100" b="0" i="0" u="none" strike="noStrike" kern="1200">
                          <a:solidFill>
                            <a:srgbClr val="000000"/>
                          </a:solidFill>
                          <a:effectLst/>
                          <a:latin typeface="Trebuchet MS"/>
                          <a:ea typeface="+mn-ea"/>
                          <a:cs typeface="+mn-cs"/>
                          <a:hlinkClick r:id="rId4"/>
                        </a:rPr>
                        <a:t>Buyer Portal</a:t>
                      </a:r>
                      <a:r>
                        <a:rPr lang="en-US" sz="1100" b="0" i="0" u="none" strike="noStrike" kern="1200">
                          <a:solidFill>
                            <a:srgbClr val="000000"/>
                          </a:solidFill>
                          <a:effectLst/>
                          <a:latin typeface="Trebuchet MS"/>
                          <a:ea typeface="+mn-ea"/>
                          <a:cs typeface="+mn-cs"/>
                        </a:rPr>
                        <a:t>.</a:t>
                      </a:r>
                    </a:p>
                  </a:txBody>
                  <a:tcPr marL="6350" marR="6350" marT="6350" marB="0" anchor="ctr">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7E7"/>
                    </a:solidFill>
                  </a:tcPr>
                </a:tc>
                <a:extLst>
                  <a:ext uri="{0D108BD9-81ED-4DB2-BD59-A6C34878D82A}">
                    <a16:rowId xmlns:a16="http://schemas.microsoft.com/office/drawing/2014/main" val="293530750"/>
                  </a:ext>
                </a:extLst>
              </a:tr>
              <a:tr h="954779">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Reason for not using preferred External Party</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noFill/>
                  </a:tcPr>
                </a:tc>
                <a:tc>
                  <a:txBody>
                    <a:bodyPr/>
                    <a:lstStyle/>
                    <a:p>
                      <a:pPr algn="ctr" fontAlgn="t"/>
                      <a:r>
                        <a:rPr lang="en-US" sz="1100" b="0" i="0" u="none" strike="noStrike" kern="1200">
                          <a:solidFill>
                            <a:srgbClr val="000000"/>
                          </a:solidFill>
                          <a:effectLst/>
                          <a:latin typeface="Trebuchet MS"/>
                          <a:ea typeface="+mn-ea"/>
                          <a:cs typeface="+mn-cs"/>
                        </a:rPr>
                        <a:t>If a non-preferred supplier is selected, please indicate the reason for the selection.</a:t>
                      </a:r>
                    </a:p>
                  </a:txBody>
                  <a:tcPr marL="6350" marR="6350" marT="6350" marB="0" anchor="ctr">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72662060"/>
                  </a:ext>
                </a:extLst>
              </a:tr>
              <a:tr h="954779">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Legacy Contract ID</a:t>
                      </a:r>
                      <a:endParaRPr lang="en-US" b="1">
                        <a:solidFill>
                          <a:srgbClr val="BB2BBE"/>
                        </a:solidFill>
                        <a:latin typeface="Trebuchet MS"/>
                      </a:endParaRPr>
                    </a:p>
                  </a:txBody>
                  <a:tcPr marL="6350" marR="6350" marT="6350" marB="0" anchor="ctr">
                    <a:lnL w="12700">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cap="flat" cmpd="sng" algn="ctr">
                      <a:solidFill>
                        <a:schemeClr val="tx1"/>
                      </a:solidFill>
                      <a:prstDash val="solid"/>
                      <a:round/>
                      <a:headEnd type="none" w="med" len="med"/>
                      <a:tailEnd type="none" w="med" len="med"/>
                    </a:lnB>
                    <a:solidFill>
                      <a:srgbClr val="EEE7E7"/>
                    </a:solidFill>
                  </a:tcPr>
                </a:tc>
                <a:tc>
                  <a:txBody>
                    <a:bodyPr/>
                    <a:lstStyle/>
                    <a:p>
                      <a:pPr lvl="0" algn="ctr">
                        <a:buNone/>
                      </a:pPr>
                      <a:r>
                        <a:rPr lang="en-US" sz="1100" b="0" i="0" u="none" strike="noStrike" kern="1200">
                          <a:solidFill>
                            <a:srgbClr val="000000"/>
                          </a:solidFill>
                          <a:effectLst/>
                          <a:latin typeface="Trebuchet MS"/>
                          <a:ea typeface="+mn-ea"/>
                          <a:cs typeface="+mn-cs"/>
                        </a:rPr>
                        <a:t>The Contract ID # for Contracts migrated from Ariba. </a:t>
                      </a:r>
                      <a:endParaRPr lang="en-US" sz="1100" b="0" i="0" u="none" strike="noStrike" kern="1200" noProof="0">
                        <a:solidFill>
                          <a:srgbClr val="000000"/>
                        </a:solidFill>
                        <a:effectLst/>
                        <a:latin typeface="Trebuchet MS"/>
                        <a:ea typeface="+mn-ea"/>
                        <a:cs typeface="+mn-cs"/>
                      </a:endParaRPr>
                    </a:p>
                  </a:txBody>
                  <a:tcPr marL="6350" marR="6350" marT="6350" marB="0" anchor="ctr">
                    <a:lnL w="12700" cap="flat" cmpd="sng" algn="ctr">
                      <a:solidFill>
                        <a:schemeClr val="tx1"/>
                      </a:solidFill>
                      <a:prstDash val="solid"/>
                      <a:round/>
                      <a:headEnd type="none" w="med" len="med"/>
                      <a:tailEnd type="none" w="med" len="med"/>
                    </a:lnL>
                    <a:lnR w="12700">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7E7"/>
                    </a:solidFill>
                  </a:tcPr>
                </a:tc>
                <a:extLst>
                  <a:ext uri="{0D108BD9-81ED-4DB2-BD59-A6C34878D82A}">
                    <a16:rowId xmlns:a16="http://schemas.microsoft.com/office/drawing/2014/main" val="251422859"/>
                  </a:ext>
                </a:extLst>
              </a:tr>
            </a:tbl>
          </a:graphicData>
        </a:graphic>
      </p:graphicFrame>
      <p:pic>
        <p:nvPicPr>
          <p:cNvPr id="13" name="Graphic 12">
            <a:extLst>
              <a:ext uri="{FF2B5EF4-FFF2-40B4-BE49-F238E27FC236}">
                <a16:creationId xmlns:a16="http://schemas.microsoft.com/office/drawing/2014/main" id="{FDC61B82-0712-F914-B5A1-AEB0C02FF20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18" r="27686"/>
          <a:stretch/>
        </p:blipFill>
        <p:spPr>
          <a:xfrm>
            <a:off x="5613590" y="2662458"/>
            <a:ext cx="6511550" cy="3716550"/>
          </a:xfrm>
          <a:prstGeom prst="rect">
            <a:avLst/>
          </a:prstGeom>
        </p:spPr>
      </p:pic>
      <p:pic>
        <p:nvPicPr>
          <p:cNvPr id="3" name="Graphic 2">
            <a:extLst>
              <a:ext uri="{FF2B5EF4-FFF2-40B4-BE49-F238E27FC236}">
                <a16:creationId xmlns:a16="http://schemas.microsoft.com/office/drawing/2014/main" id="{8C07C2DF-DB61-AE03-6758-8267ED885464}"/>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50546"/>
          <a:stretch/>
        </p:blipFill>
        <p:spPr>
          <a:xfrm>
            <a:off x="8848796" y="538313"/>
            <a:ext cx="2197243" cy="1481001"/>
          </a:xfrm>
          <a:prstGeom prst="rect">
            <a:avLst/>
          </a:prstGeom>
        </p:spPr>
      </p:pic>
      <p:pic>
        <p:nvPicPr>
          <p:cNvPr id="2" name="Picture 3" descr="Graphical user interface, text, application, email&#10;&#10;Description automatically generated">
            <a:extLst>
              <a:ext uri="{FF2B5EF4-FFF2-40B4-BE49-F238E27FC236}">
                <a16:creationId xmlns:a16="http://schemas.microsoft.com/office/drawing/2014/main" id="{E38E0230-B6DC-5833-D2D1-7FCB0FC8398D}"/>
              </a:ext>
            </a:extLst>
          </p:cNvPr>
          <p:cNvPicPr>
            <a:picLocks noChangeAspect="1"/>
          </p:cNvPicPr>
          <p:nvPr/>
        </p:nvPicPr>
        <p:blipFill>
          <a:blip r:embed="rId9"/>
          <a:stretch>
            <a:fillRect/>
          </a:stretch>
        </p:blipFill>
        <p:spPr>
          <a:xfrm>
            <a:off x="6417734" y="2895773"/>
            <a:ext cx="4811485" cy="2687217"/>
          </a:xfrm>
          <a:prstGeom prst="rect">
            <a:avLst/>
          </a:prstGeom>
        </p:spPr>
      </p:pic>
    </p:spTree>
    <p:extLst>
      <p:ext uri="{BB962C8B-B14F-4D97-AF65-F5344CB8AC3E}">
        <p14:creationId xmlns:p14="http://schemas.microsoft.com/office/powerpoint/2010/main" val="581199878"/>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6.0 Assign Monitor</a:t>
            </a:r>
            <a:endParaRPr lang="en-US" sz="3200" i="0" u="none" strike="noStrike" kern="1200" cap="none" spc="0" normalizeH="0" baseline="0" noProof="0">
              <a:ln>
                <a:noFill/>
              </a:ln>
              <a:solidFill>
                <a:srgbClr val="595454"/>
              </a:solidFill>
              <a:effectLst/>
              <a:uLnTx/>
              <a:uFillTx/>
              <a:latin typeface="Trebuchet MS"/>
            </a:endParaRPr>
          </a:p>
        </p:txBody>
      </p:sp>
      <p:sp>
        <p:nvSpPr>
          <p:cNvPr id="5" name="TextBox 4">
            <a:extLst>
              <a:ext uri="{FF2B5EF4-FFF2-40B4-BE49-F238E27FC236}">
                <a16:creationId xmlns:a16="http://schemas.microsoft.com/office/drawing/2014/main" id="{540072E7-A4B6-9A39-C04D-78AA6249F659}"/>
              </a:ext>
            </a:extLst>
          </p:cNvPr>
          <p:cNvSpPr txBox="1"/>
          <p:nvPr/>
        </p:nvSpPr>
        <p:spPr>
          <a:xfrm>
            <a:off x="115093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5</a:t>
            </a:r>
          </a:p>
        </p:txBody>
      </p:sp>
      <p:graphicFrame>
        <p:nvGraphicFramePr>
          <p:cNvPr id="8" name="Table 7">
            <a:extLst>
              <a:ext uri="{FF2B5EF4-FFF2-40B4-BE49-F238E27FC236}">
                <a16:creationId xmlns:a16="http://schemas.microsoft.com/office/drawing/2014/main" id="{A0E88ACC-7BE3-F8F6-3762-ACF434134537}"/>
              </a:ext>
            </a:extLst>
          </p:cNvPr>
          <p:cNvGraphicFramePr>
            <a:graphicFrameLocks noGrp="1"/>
          </p:cNvGraphicFramePr>
          <p:nvPr>
            <p:extLst>
              <p:ext uri="{D42A27DB-BD31-4B8C-83A1-F6EECF244321}">
                <p14:modId xmlns:p14="http://schemas.microsoft.com/office/powerpoint/2010/main" val="1515790277"/>
              </p:ext>
            </p:extLst>
          </p:nvPr>
        </p:nvGraphicFramePr>
        <p:xfrm>
          <a:off x="330440" y="1033972"/>
          <a:ext cx="5048384" cy="1863369"/>
        </p:xfrm>
        <a:graphic>
          <a:graphicData uri="http://schemas.openxmlformats.org/drawingml/2006/table">
            <a:tbl>
              <a:tblPr firstRow="1" bandRow="1">
                <a:tableStyleId>{5C22544A-7EE6-4342-B048-85BDC9FD1C3A}</a:tableStyleId>
              </a:tblPr>
              <a:tblGrid>
                <a:gridCol w="2174543">
                  <a:extLst>
                    <a:ext uri="{9D8B030D-6E8A-4147-A177-3AD203B41FA5}">
                      <a16:colId xmlns:a16="http://schemas.microsoft.com/office/drawing/2014/main" val="667398442"/>
                    </a:ext>
                  </a:extLst>
                </a:gridCol>
                <a:gridCol w="2873841">
                  <a:extLst>
                    <a:ext uri="{9D8B030D-6E8A-4147-A177-3AD203B41FA5}">
                      <a16:colId xmlns:a16="http://schemas.microsoft.com/office/drawing/2014/main" val="3844006668"/>
                    </a:ext>
                  </a:extLst>
                </a:gridCol>
              </a:tblGrid>
              <a:tr h="683539">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extLst>
                  <a:ext uri="{0D108BD9-81ED-4DB2-BD59-A6C34878D82A}">
                    <a16:rowId xmlns:a16="http://schemas.microsoft.com/office/drawing/2014/main" val="2670478932"/>
                  </a:ext>
                </a:extLst>
              </a:tr>
              <a:tr h="797462">
                <a:tc>
                  <a:txBody>
                    <a:bodyPr/>
                    <a:lstStyle/>
                    <a:p>
                      <a:pPr lvl="0" algn="ctr">
                        <a:buNone/>
                      </a:pPr>
                      <a:r>
                        <a:rPr lang="en-US" sz="1200" b="1" i="0" u="none" strike="noStrike" noProof="0">
                          <a:solidFill>
                            <a:srgbClr val="BB2BBE"/>
                          </a:solidFill>
                          <a:effectLst/>
                          <a:latin typeface="Trebuchet MS"/>
                        </a:rPr>
                        <a:t>Assign Monitor to Contract</a:t>
                      </a:r>
                      <a:endParaRPr lang="en-US"/>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algn="ctr" fontAlgn="t"/>
                      <a:r>
                        <a:rPr lang="en-US" sz="1100" b="0" i="0" u="none" strike="noStrike">
                          <a:solidFill>
                            <a:srgbClr val="000000"/>
                          </a:solidFill>
                          <a:effectLst/>
                          <a:latin typeface="Trebuchet MS"/>
                        </a:rPr>
                        <a:t>The individual is the BMS employee or Authorized Person who is the primary point of contact for the Transaction, and monitors the performance of the Written Contract to help ensure that the rights and obligations of the signed Written Contract are met.</a:t>
                      </a:r>
                    </a:p>
                    <a:p>
                      <a:pPr algn="ctr" fontAlgn="t"/>
                      <a:endParaRPr lang="en-US" sz="1100" b="0" i="0" u="none" strike="noStrike">
                        <a:solidFill>
                          <a:srgbClr val="000000"/>
                        </a:solidFill>
                        <a:effectLst/>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628734250"/>
                  </a:ext>
                </a:extLst>
              </a:tr>
            </a:tbl>
          </a:graphicData>
        </a:graphic>
      </p:graphicFrame>
      <p:pic>
        <p:nvPicPr>
          <p:cNvPr id="13" name="Graphic 12">
            <a:extLst>
              <a:ext uri="{FF2B5EF4-FFF2-40B4-BE49-F238E27FC236}">
                <a16:creationId xmlns:a16="http://schemas.microsoft.com/office/drawing/2014/main" id="{FDC61B82-0712-F914-B5A1-AEB0C02FF20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8" r="27686"/>
          <a:stretch/>
        </p:blipFill>
        <p:spPr>
          <a:xfrm>
            <a:off x="4865967" y="2231137"/>
            <a:ext cx="7259173" cy="4147870"/>
          </a:xfrm>
          <a:prstGeom prst="rect">
            <a:avLst/>
          </a:prstGeom>
        </p:spPr>
      </p:pic>
      <p:pic>
        <p:nvPicPr>
          <p:cNvPr id="3" name="Graphic 2">
            <a:extLst>
              <a:ext uri="{FF2B5EF4-FFF2-40B4-BE49-F238E27FC236}">
                <a16:creationId xmlns:a16="http://schemas.microsoft.com/office/drawing/2014/main" id="{8C07C2DF-DB61-AE03-6758-8267ED88546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0546"/>
          <a:stretch/>
        </p:blipFill>
        <p:spPr>
          <a:xfrm>
            <a:off x="8848796" y="538313"/>
            <a:ext cx="2197243" cy="1481001"/>
          </a:xfrm>
          <a:prstGeom prst="rect">
            <a:avLst/>
          </a:prstGeom>
        </p:spPr>
      </p:pic>
      <p:pic>
        <p:nvPicPr>
          <p:cNvPr id="4" name="Picture 5" descr="Graphical user interface, text, application, email&#10;&#10;Description automatically generated">
            <a:extLst>
              <a:ext uri="{FF2B5EF4-FFF2-40B4-BE49-F238E27FC236}">
                <a16:creationId xmlns:a16="http://schemas.microsoft.com/office/drawing/2014/main" id="{891C1545-E8F0-5226-485D-7D1081C26337}"/>
              </a:ext>
            </a:extLst>
          </p:cNvPr>
          <p:cNvPicPr>
            <a:picLocks noChangeAspect="1"/>
          </p:cNvPicPr>
          <p:nvPr/>
        </p:nvPicPr>
        <p:blipFill>
          <a:blip r:embed="rId7"/>
          <a:stretch>
            <a:fillRect/>
          </a:stretch>
        </p:blipFill>
        <p:spPr>
          <a:xfrm>
            <a:off x="5704115" y="2443975"/>
            <a:ext cx="5428342" cy="3058621"/>
          </a:xfrm>
          <a:prstGeom prst="rect">
            <a:avLst/>
          </a:prstGeom>
        </p:spPr>
      </p:pic>
    </p:spTree>
    <p:extLst>
      <p:ext uri="{BB962C8B-B14F-4D97-AF65-F5344CB8AC3E}">
        <p14:creationId xmlns:p14="http://schemas.microsoft.com/office/powerpoint/2010/main" val="40994261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3AB19C9-D5C3-4F76-978A-A55F70609C4A}"/>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defRPr/>
            </a:pPr>
            <a:r>
              <a:rPr lang="en-US">
                <a:solidFill>
                  <a:srgbClr val="595454"/>
                </a:solidFill>
                <a:latin typeface="Trebuchet MS"/>
              </a:rPr>
              <a:t>7.0 Approvers and Expert Facilitator Selection</a:t>
            </a:r>
          </a:p>
          <a:p>
            <a:pPr marL="0" marR="0" lvl="0" indent="0" algn="l" defTabSz="914400">
              <a:lnSpc>
                <a:spcPct val="90000"/>
              </a:lnSpc>
              <a:spcBef>
                <a:spcPct val="0"/>
              </a:spcBef>
              <a:spcAft>
                <a:spcPts val="0"/>
              </a:spcAft>
              <a:buClrTx/>
              <a:buSzTx/>
              <a:buFontTx/>
              <a:buNone/>
              <a:tabLst/>
              <a:defRPr/>
            </a:pPr>
            <a:endParaRPr lang="en-US" sz="3200" i="0" u="none" strike="noStrike" kern="1200" cap="none" spc="0" normalizeH="0" baseline="0" noProof="0">
              <a:ln>
                <a:noFill/>
              </a:ln>
              <a:solidFill>
                <a:srgbClr val="595454"/>
              </a:solidFill>
              <a:effectLst/>
              <a:uLnTx/>
              <a:uFillTx/>
              <a:latin typeface="Trebuchet MS"/>
            </a:endParaRPr>
          </a:p>
        </p:txBody>
      </p:sp>
      <p:sp>
        <p:nvSpPr>
          <p:cNvPr id="5" name="TextBox 4">
            <a:extLst>
              <a:ext uri="{FF2B5EF4-FFF2-40B4-BE49-F238E27FC236}">
                <a16:creationId xmlns:a16="http://schemas.microsoft.com/office/drawing/2014/main" id="{540072E7-A4B6-9A39-C04D-78AA6249F659}"/>
              </a:ext>
            </a:extLst>
          </p:cNvPr>
          <p:cNvSpPr txBox="1"/>
          <p:nvPr/>
        </p:nvSpPr>
        <p:spPr>
          <a:xfrm>
            <a:off x="11509375" y="6391274"/>
            <a:ext cx="1777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t>5</a:t>
            </a:r>
          </a:p>
        </p:txBody>
      </p:sp>
      <p:graphicFrame>
        <p:nvGraphicFramePr>
          <p:cNvPr id="8" name="Table 7">
            <a:extLst>
              <a:ext uri="{FF2B5EF4-FFF2-40B4-BE49-F238E27FC236}">
                <a16:creationId xmlns:a16="http://schemas.microsoft.com/office/drawing/2014/main" id="{A0E88ACC-7BE3-F8F6-3762-ACF434134537}"/>
              </a:ext>
            </a:extLst>
          </p:cNvPr>
          <p:cNvGraphicFramePr>
            <a:graphicFrameLocks noGrp="1"/>
          </p:cNvGraphicFramePr>
          <p:nvPr>
            <p:extLst>
              <p:ext uri="{D42A27DB-BD31-4B8C-83A1-F6EECF244321}">
                <p14:modId xmlns:p14="http://schemas.microsoft.com/office/powerpoint/2010/main" val="1368106501"/>
              </p:ext>
            </p:extLst>
          </p:nvPr>
        </p:nvGraphicFramePr>
        <p:xfrm>
          <a:off x="474213" y="1307142"/>
          <a:ext cx="6034163" cy="4704196"/>
        </p:xfrm>
        <a:graphic>
          <a:graphicData uri="http://schemas.openxmlformats.org/drawingml/2006/table">
            <a:tbl>
              <a:tblPr firstRow="1" bandRow="1">
                <a:tableStyleId>{5C22544A-7EE6-4342-B048-85BDC9FD1C3A}</a:tableStyleId>
              </a:tblPr>
              <a:tblGrid>
                <a:gridCol w="2599157">
                  <a:extLst>
                    <a:ext uri="{9D8B030D-6E8A-4147-A177-3AD203B41FA5}">
                      <a16:colId xmlns:a16="http://schemas.microsoft.com/office/drawing/2014/main" val="667398442"/>
                    </a:ext>
                  </a:extLst>
                </a:gridCol>
                <a:gridCol w="3435006">
                  <a:extLst>
                    <a:ext uri="{9D8B030D-6E8A-4147-A177-3AD203B41FA5}">
                      <a16:colId xmlns:a16="http://schemas.microsoft.com/office/drawing/2014/main" val="3844006668"/>
                    </a:ext>
                  </a:extLst>
                </a:gridCol>
              </a:tblGrid>
              <a:tr h="489652">
                <a:tc>
                  <a:txBody>
                    <a:bodyPr/>
                    <a:lstStyle/>
                    <a:p>
                      <a:pPr algn="ctr" fontAlgn="t"/>
                      <a:r>
                        <a:rPr lang="en-US" sz="1400" b="0" kern="1200">
                          <a:solidFill>
                            <a:schemeClr val="lt1"/>
                          </a:solidFill>
                          <a:latin typeface="BMS Humanity Light"/>
                          <a:ea typeface="+mn-ea"/>
                          <a:cs typeface="+mn-cs"/>
                        </a:rPr>
                        <a:t>Icertis Fiel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tc>
                  <a:txBody>
                    <a:bodyPr/>
                    <a:lstStyle/>
                    <a:p>
                      <a:pPr algn="ctr">
                        <a:lnSpc>
                          <a:spcPct val="150000"/>
                        </a:lnSpc>
                      </a:pPr>
                      <a:r>
                        <a:rPr lang="en-US" sz="1400" b="0" kern="1200" noProof="0">
                          <a:solidFill>
                            <a:schemeClr val="lt1"/>
                          </a:solidFill>
                          <a:latin typeface="BMS Humanity Light"/>
                          <a:ea typeface="+mn-ea"/>
                          <a:cs typeface="+mn-cs"/>
                        </a:rPr>
                        <a:t>Helpful Information </a:t>
                      </a:r>
                    </a:p>
                  </a:txBody>
                  <a:tcPr anchor="ctr">
                    <a:lnL w="12700">
                      <a:solidFill>
                        <a:schemeClr val="tx1"/>
                      </a:solidFill>
                    </a:lnL>
                    <a:lnR w="12700">
                      <a:solidFill>
                        <a:schemeClr val="tx1"/>
                      </a:solidFill>
                    </a:lnR>
                    <a:lnT w="12700">
                      <a:solidFill>
                        <a:schemeClr val="tx1"/>
                      </a:solidFill>
                    </a:lnT>
                    <a:lnB w="12700">
                      <a:solidFill>
                        <a:schemeClr val="tx1"/>
                      </a:solidFill>
                    </a:lnB>
                    <a:solidFill>
                      <a:srgbClr val="A69F9F"/>
                    </a:solidFill>
                  </a:tcPr>
                </a:tc>
                <a:extLst>
                  <a:ext uri="{0D108BD9-81ED-4DB2-BD59-A6C34878D82A}">
                    <a16:rowId xmlns:a16="http://schemas.microsoft.com/office/drawing/2014/main" val="2670478932"/>
                  </a:ext>
                </a:extLst>
              </a:tr>
              <a:tr h="571260">
                <a:tc>
                  <a:txBody>
                    <a:bodyPr/>
                    <a:lstStyle/>
                    <a:p>
                      <a:pPr lvl="0" algn="ctr">
                        <a:buNone/>
                      </a:pPr>
                      <a:r>
                        <a:rPr lang="en-US" sz="1200" b="1" i="0" u="none" strike="noStrike" noProof="0">
                          <a:solidFill>
                            <a:srgbClr val="BB2BBE"/>
                          </a:solidFill>
                          <a:effectLst/>
                          <a:latin typeface="Trebuchet MS"/>
                        </a:rPr>
                        <a:t>Assign Legal Reviewer</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algn="ctr" fontAlgn="t"/>
                      <a:r>
                        <a:rPr lang="en-US" sz="1100" b="0" i="0">
                          <a:effectLst/>
                          <a:latin typeface="Trebuchet MS" panose="020B0603020202020204" pitchFamily="34" charset="0"/>
                        </a:rPr>
                        <a:t>For Wave 1 Icertis Go-Live, Legal Review is a Mandatory field when creating a contract. Icertis will only route the contract for Legal Review when it is necessary, dependent on the contract metadata inputs</a:t>
                      </a:r>
                      <a:r>
                        <a:rPr lang="en-US" sz="1100" b="0" i="0">
                          <a:effectLst/>
                          <a:latin typeface="Arial" panose="020B0604020202020204" pitchFamily="34" charset="0"/>
                        </a:rPr>
                        <a:t>.</a:t>
                      </a:r>
                      <a:endParaRPr lang="en-US" sz="1100" b="1" i="0" u="none" strike="noStrike">
                        <a:solidFill>
                          <a:srgbClr val="000000"/>
                        </a:solidFill>
                        <a:effectLst/>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628734250"/>
                  </a:ext>
                </a:extLst>
              </a:tr>
              <a:tr h="571260">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BMS Business Unit Approver</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kern="1200">
                          <a:solidFill>
                            <a:schemeClr val="dk1"/>
                          </a:solidFill>
                          <a:effectLst/>
                          <a:latin typeface="Trebuchet MS" panose="020B0603020202020204" pitchFamily="34" charset="0"/>
                          <a:ea typeface="+mn-ea"/>
                          <a:cs typeface="+mn-cs"/>
                        </a:rPr>
                        <a:t>An accountable employee with sufficient Approval Authority under BMS _CD 021b to approve the Contract, Change Request and /or Amendment. Assigns Monitor when applicable</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1465589841"/>
                  </a:ext>
                </a:extLst>
              </a:tr>
              <a:tr h="625666">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Execution Date</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b="0" i="0" kern="1200">
                          <a:solidFill>
                            <a:schemeClr val="dk1"/>
                          </a:solidFill>
                          <a:effectLst/>
                          <a:latin typeface="Trebuchet MS" panose="020B0603020202020204" pitchFamily="34" charset="0"/>
                          <a:ea typeface="+mn-ea"/>
                          <a:cs typeface="+mn-cs"/>
                        </a:rPr>
                        <a:t>User- selected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93530750"/>
                  </a:ext>
                </a:extLst>
              </a:tr>
              <a:tr h="734478">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Signature Sequence</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tc>
                  <a:txBody>
                    <a:bodyPr/>
                    <a:lstStyle/>
                    <a:p>
                      <a:pPr algn="ctr" fontAlgn="t"/>
                      <a:r>
                        <a:rPr lang="en-US" sz="1100" b="0" i="0" u="none" strike="noStrike">
                          <a:solidFill>
                            <a:srgbClr val="000000"/>
                          </a:solidFill>
                          <a:effectLst/>
                          <a:latin typeface="Trebuchet MS"/>
                        </a:rPr>
                        <a:t>Internal First (BMS Signer) or External First (Supplier Signer)</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noFill/>
                  </a:tcPr>
                </a:tc>
                <a:extLst>
                  <a:ext uri="{0D108BD9-81ED-4DB2-BD59-A6C34878D82A}">
                    <a16:rowId xmlns:a16="http://schemas.microsoft.com/office/drawing/2014/main" val="2572662060"/>
                  </a:ext>
                </a:extLst>
              </a:tr>
              <a:tr h="707274">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Signature Type</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tc>
                  <a:txBody>
                    <a:bodyPr/>
                    <a:lstStyle/>
                    <a:p>
                      <a:pPr lvl="0" algn="ctr">
                        <a:buNone/>
                      </a:pPr>
                      <a:r>
                        <a:rPr lang="en-US" sz="1100" b="0" i="0" u="none" strike="noStrike" kern="1200">
                          <a:solidFill>
                            <a:srgbClr val="000000"/>
                          </a:solidFill>
                          <a:effectLst/>
                          <a:latin typeface="Trebuchet MS"/>
                          <a:ea typeface="+mn-ea"/>
                          <a:cs typeface="+mn-cs"/>
                        </a:rPr>
                        <a:t>When will the contract be executed (Note: this field will be updated upon contract signature.)</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rgbClr val="EEE7E7"/>
                    </a:solidFill>
                  </a:tcPr>
                </a:tc>
                <a:extLst>
                  <a:ext uri="{0D108BD9-81ED-4DB2-BD59-A6C34878D82A}">
                    <a16:rowId xmlns:a16="http://schemas.microsoft.com/office/drawing/2014/main" val="2537551584"/>
                  </a:ext>
                </a:extLst>
              </a:tr>
              <a:tr h="625666">
                <a:tc>
                  <a:txBody>
                    <a:bodyPr/>
                    <a:lstStyle/>
                    <a:p>
                      <a:pPr lvl="0" algn="ctr">
                        <a:lnSpc>
                          <a:spcPct val="100000"/>
                        </a:lnSpc>
                        <a:spcBef>
                          <a:spcPts val="0"/>
                        </a:spcBef>
                        <a:spcAft>
                          <a:spcPts val="0"/>
                        </a:spcAft>
                        <a:buNone/>
                      </a:pPr>
                      <a:r>
                        <a:rPr lang="en-US" sz="1200" b="1" i="0" u="none" strike="noStrike" noProof="0">
                          <a:solidFill>
                            <a:srgbClr val="BB2BBE"/>
                          </a:solidFill>
                          <a:effectLst/>
                          <a:latin typeface="Trebuchet MS"/>
                        </a:rPr>
                        <a:t>Adobe Add Signature Tags</a:t>
                      </a:r>
                      <a:endParaRPr lang="en-US" b="1">
                        <a:solidFill>
                          <a:srgbClr val="BB2BBE"/>
                        </a:solidFill>
                        <a:latin typeface="Trebuchet MS"/>
                      </a:endParaRP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tc>
                  <a:txBody>
                    <a:bodyPr/>
                    <a:lstStyle/>
                    <a:p>
                      <a:pPr lvl="0" algn="ctr">
                        <a:buNone/>
                      </a:pPr>
                      <a:r>
                        <a:rPr lang="en-US" sz="1100" b="1" i="0" u="none" strike="noStrike" noProof="0">
                          <a:effectLst/>
                        </a:rPr>
                        <a:t>Auto-selected to “No” </a:t>
                      </a:r>
                    </a:p>
                    <a:p>
                      <a:pPr lvl="0" algn="ctr">
                        <a:buNone/>
                      </a:pPr>
                      <a:r>
                        <a:rPr lang="en-US" sz="1100" b="1" i="0" u="none" strike="noStrike" noProof="0">
                          <a:effectLst/>
                        </a:rPr>
                        <a:t>Note: Switch to “Yes” always to give facilitator option to place Signature Tags </a:t>
                      </a:r>
                    </a:p>
                  </a:txBody>
                  <a:tcPr marL="6350" marR="6350" marT="6350" marB="0" anchor="ct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92266969"/>
                  </a:ext>
                </a:extLst>
              </a:tr>
            </a:tbl>
          </a:graphicData>
        </a:graphic>
      </p:graphicFrame>
      <p:pic>
        <p:nvPicPr>
          <p:cNvPr id="13" name="Graphic 12">
            <a:extLst>
              <a:ext uri="{FF2B5EF4-FFF2-40B4-BE49-F238E27FC236}">
                <a16:creationId xmlns:a16="http://schemas.microsoft.com/office/drawing/2014/main" id="{FDC61B82-0712-F914-B5A1-AEB0C02FF20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8" r="27686"/>
          <a:stretch/>
        </p:blipFill>
        <p:spPr>
          <a:xfrm>
            <a:off x="6303702" y="3007515"/>
            <a:ext cx="5893324" cy="3371493"/>
          </a:xfrm>
          <a:prstGeom prst="rect">
            <a:avLst/>
          </a:prstGeom>
        </p:spPr>
      </p:pic>
      <p:pic>
        <p:nvPicPr>
          <p:cNvPr id="3" name="Graphic 2">
            <a:extLst>
              <a:ext uri="{FF2B5EF4-FFF2-40B4-BE49-F238E27FC236}">
                <a16:creationId xmlns:a16="http://schemas.microsoft.com/office/drawing/2014/main" id="{8C07C2DF-DB61-AE03-6758-8267ED885464}"/>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0546"/>
          <a:stretch/>
        </p:blipFill>
        <p:spPr>
          <a:xfrm>
            <a:off x="8848796" y="538313"/>
            <a:ext cx="2197243" cy="1481001"/>
          </a:xfrm>
          <a:prstGeom prst="rect">
            <a:avLst/>
          </a:prstGeom>
        </p:spPr>
      </p:pic>
      <p:pic>
        <p:nvPicPr>
          <p:cNvPr id="2" name="Picture 3" descr="Graphical user interface, text, application, email&#10;&#10;Description automatically generated">
            <a:extLst>
              <a:ext uri="{FF2B5EF4-FFF2-40B4-BE49-F238E27FC236}">
                <a16:creationId xmlns:a16="http://schemas.microsoft.com/office/drawing/2014/main" id="{2BFE8D18-A7BD-6788-7FD5-BF5E726BCE8D}"/>
              </a:ext>
            </a:extLst>
          </p:cNvPr>
          <p:cNvPicPr>
            <a:picLocks noChangeAspect="1"/>
          </p:cNvPicPr>
          <p:nvPr/>
        </p:nvPicPr>
        <p:blipFill>
          <a:blip r:embed="rId7"/>
          <a:stretch>
            <a:fillRect/>
          </a:stretch>
        </p:blipFill>
        <p:spPr>
          <a:xfrm>
            <a:off x="6986210" y="3205377"/>
            <a:ext cx="4388152" cy="2515533"/>
          </a:xfrm>
          <a:prstGeom prst="rect">
            <a:avLst/>
          </a:prstGeom>
        </p:spPr>
      </p:pic>
    </p:spTree>
    <p:extLst>
      <p:ext uri="{BB962C8B-B14F-4D97-AF65-F5344CB8AC3E}">
        <p14:creationId xmlns:p14="http://schemas.microsoft.com/office/powerpoint/2010/main" val="1968659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ZWWWlidbS4s.uNxbB68z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BMS PowerPoint Template 28Feb2020" id="{0895FA39-87D9-4FFB-AE45-CFAF2734F0F6}" vid="{A72F8218-4743-4B1B-A885-BA1DCF34E05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2</Slides>
  <Notes>11</Notes>
  <HiddenSlides>0</HiddenSlide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1_Office Theme</vt:lpstr>
      <vt:lpstr>7_Bristol Myers Squib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ertis Intake Training</dc:title>
  <dc:creator>Biani Noubissi</dc:creator>
  <cp:revision>6</cp:revision>
  <dcterms:created xsi:type="dcterms:W3CDTF">2022-06-30T15:50:30Z</dcterms:created>
  <dcterms:modified xsi:type="dcterms:W3CDTF">2022-09-02T20:12:41Z</dcterms:modified>
</cp:coreProperties>
</file>